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38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5" r:id="rId9"/>
    <p:sldId id="269" r:id="rId10"/>
    <p:sldId id="270" r:id="rId11"/>
    <p:sldId id="271" r:id="rId12"/>
    <p:sldId id="272" r:id="rId13"/>
    <p:sldId id="274" r:id="rId14"/>
    <p:sldId id="275" r:id="rId15"/>
    <p:sldId id="276" r:id="rId16"/>
    <p:sldId id="277" r:id="rId17"/>
    <p:sldId id="278" r:id="rId18"/>
    <p:sldId id="279" r:id="rId19"/>
    <p:sldId id="263" r:id="rId20"/>
    <p:sldId id="264" r:id="rId21"/>
    <p:sldId id="280" r:id="rId22"/>
    <p:sldId id="281" r:id="rId23"/>
    <p:sldId id="282" r:id="rId24"/>
    <p:sldId id="283" r:id="rId25"/>
    <p:sldId id="285" r:id="rId26"/>
    <p:sldId id="286" r:id="rId27"/>
    <p:sldId id="287" r:id="rId28"/>
    <p:sldId id="296" r:id="rId29"/>
    <p:sldId id="288" r:id="rId30"/>
    <p:sldId id="289" r:id="rId31"/>
    <p:sldId id="290" r:id="rId32"/>
    <p:sldId id="291" r:id="rId33"/>
    <p:sldId id="292" r:id="rId34"/>
    <p:sldId id="293" r:id="rId35"/>
    <p:sldId id="294" r:id="rId36"/>
    <p:sldId id="295" r:id="rId37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74" d="100"/>
          <a:sy n="74" d="100"/>
        </p:scale>
        <p:origin x="-582" y="-102"/>
      </p:cViewPr>
      <p:guideLst>
        <p:guide orient="horz" pos="2160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5715575360523661E-2"/>
          <c:y val="6.89916142978695E-2"/>
          <c:w val="0.76353045617816517"/>
          <c:h val="0.6139314634541803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сходно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2.1405816010775049E-2"/>
                  <c:y val="-3.1105326554494817E-2"/>
                </c:manualLayout>
              </c:layout>
              <c:tx>
                <c:rich>
                  <a:bodyPr/>
                  <a:lstStyle/>
                  <a:p>
                    <a:r>
                      <a:rPr lang="en-US" sz="898" dirty="0">
                        <a:solidFill>
                          <a:schemeClr val="accent6"/>
                        </a:solidFill>
                      </a:rPr>
                      <a:t>7,12</a:t>
                    </a:r>
                    <a:r>
                      <a:rPr lang="en-US" sz="898" b="1" i="0" u="none" strike="noStrike" baseline="0" dirty="0">
                        <a:solidFill>
                          <a:schemeClr val="accent6"/>
                        </a:solidFill>
                        <a:effectLst/>
                      </a:rPr>
                      <a:t>±0,19*</a:t>
                    </a:r>
                    <a:endParaRPr lang="en-US" dirty="0">
                      <a:solidFill>
                        <a:schemeClr val="accent6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18C-4FA9-A5E8-A616B7031920}"/>
                </c:ext>
              </c:extLst>
            </c:dLbl>
            <c:dLbl>
              <c:idx val="1"/>
              <c:layout>
                <c:manualLayout>
                  <c:x val="3.6026471049430422E-2"/>
                  <c:y val="-6.2856474395565742E-2"/>
                </c:manualLayout>
              </c:layout>
              <c:tx>
                <c:rich>
                  <a:bodyPr anchorCtr="0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sz="898" b="1" i="0" u="none" strike="noStrike" kern="1200" baseline="0">
                        <a:solidFill>
                          <a:sysClr val="windowText" lastClr="000000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defRPr>
                    </a:pPr>
                    <a:r>
                      <a:rPr lang="en-US" sz="898" b="1" i="0" u="none" strike="noStrike" kern="1200" baseline="0">
                        <a:solidFill>
                          <a:sysClr val="windowText" lastClr="000000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3,34</a:t>
                    </a:r>
                    <a:r>
                      <a:rPr lang="en-US" sz="898" b="1" i="0" u="none" strike="noStrike" kern="1200" baseline="0">
                        <a:solidFill>
                          <a:sysClr val="windowText" lastClr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rPr>
                      <a:t>±0,08</a:t>
                    </a:r>
                    <a:endParaRPr lang="en-US"/>
                  </a:p>
                </c:rich>
              </c:tx>
              <c:spPr>
                <a:noFill/>
                <a:ln w="25330">
                  <a:noFill/>
                </a:ln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18C-4FA9-A5E8-A616B7031920}"/>
                </c:ext>
              </c:extLst>
            </c:dLbl>
            <c:spPr>
              <a:noFill/>
              <a:ln w="25330">
                <a:noFill/>
              </a:ln>
            </c:spPr>
            <c:txPr>
              <a:bodyPr/>
              <a:lstStyle/>
              <a:p>
                <a:pPr>
                  <a:defRPr sz="898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Среднее количество эпизодов  ОРИ в год, дети с нутритивным дефицитом</c:v>
                </c:pt>
                <c:pt idx="1">
                  <c:v>Среднее количество эпизодов ОРИ в год, дети с нормальным нутритивным статусом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.12</c:v>
                </c:pt>
                <c:pt idx="1">
                  <c:v>3.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18C-4FA9-A5E8-A616B703192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Через год 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2.5687006399165321E-2"/>
                  <c:y val="-4.2542686858978308E-2"/>
                </c:manualLayout>
              </c:layout>
              <c:tx>
                <c:rich>
                  <a:bodyPr/>
                  <a:lstStyle/>
                  <a:p>
                    <a:r>
                      <a:rPr lang="en-US" sz="898" b="1" i="0" u="none" strike="noStrike" kern="1200" baseline="0">
                        <a:solidFill>
                          <a:sysClr val="windowText" lastClr="000000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2,90</a:t>
                    </a:r>
                    <a:r>
                      <a:rPr lang="en-US" sz="898" b="1" i="0" u="none" strike="noStrike" kern="1200" baseline="0">
                        <a:solidFill>
                          <a:sysClr val="windowText" lastClr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rPr>
                      <a:t>±0,09*</a:t>
                    </a:r>
                    <a:endParaRPr lang="en-US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18C-4FA9-A5E8-A616B7031920}"/>
                </c:ext>
              </c:extLst>
            </c:dLbl>
            <c:dLbl>
              <c:idx val="1"/>
              <c:layout>
                <c:manualLayout>
                  <c:x val="3.6389718668585293E-2"/>
                  <c:y val="-4.9768690962186002E-2"/>
                </c:manualLayout>
              </c:layout>
              <c:tx>
                <c:rich>
                  <a:bodyPr/>
                  <a:lstStyle/>
                  <a:p>
                    <a:r>
                      <a:rPr lang="en-US" sz="898" dirty="0">
                        <a:solidFill>
                          <a:schemeClr val="accent6"/>
                        </a:solidFill>
                      </a:rPr>
                      <a:t>2,26</a:t>
                    </a:r>
                    <a:r>
                      <a:rPr lang="en-US" sz="898" b="1" i="0" u="none" strike="noStrike" baseline="0" dirty="0">
                        <a:solidFill>
                          <a:schemeClr val="accent6"/>
                        </a:solidFill>
                        <a:effectLst/>
                      </a:rPr>
                      <a:t>±0,07</a:t>
                    </a:r>
                    <a:endParaRPr lang="en-US" dirty="0">
                      <a:solidFill>
                        <a:schemeClr val="accent6"/>
                      </a:solidFill>
                    </a:endParaRP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18C-4FA9-A5E8-A616B7031920}"/>
                </c:ext>
              </c:extLst>
            </c:dLbl>
            <c:spPr>
              <a:noFill/>
              <a:ln w="25330">
                <a:noFill/>
              </a:ln>
            </c:spPr>
            <c:txPr>
              <a:bodyPr/>
              <a:lstStyle/>
              <a:p>
                <a:pPr>
                  <a:defRPr sz="898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Среднее количество эпизодов  ОРИ в год, дети с нутритивным дефицитом</c:v>
                </c:pt>
                <c:pt idx="1">
                  <c:v>Среднее количество эпизодов ОРИ в год, дети с нормальным нутритивным статусом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2.9</c:v>
                </c:pt>
                <c:pt idx="1">
                  <c:v>2.259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918C-4FA9-A5E8-A616B70319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55630208"/>
        <c:axId val="155632000"/>
        <c:axId val="0"/>
      </c:bar3DChart>
      <c:catAx>
        <c:axId val="1556302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047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55632000"/>
        <c:crosses val="autoZero"/>
        <c:auto val="1"/>
        <c:lblAlgn val="ctr"/>
        <c:lblOffset val="100"/>
        <c:noMultiLvlLbl val="0"/>
      </c:catAx>
      <c:valAx>
        <c:axId val="1556320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98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55630208"/>
        <c:crosses val="autoZero"/>
        <c:crossBetween val="between"/>
      </c:valAx>
      <c:spPr>
        <a:noFill/>
        <a:ln w="25330">
          <a:noFill/>
        </a:ln>
      </c:spPr>
    </c:plotArea>
    <c:legend>
      <c:legendPos val="r"/>
      <c:layout>
        <c:manualLayout>
          <c:xMode val="edge"/>
          <c:yMode val="edge"/>
          <c:x val="0.14064306924111034"/>
          <c:y val="0.75226499781989797"/>
          <c:w val="0.48787475439866451"/>
          <c:h val="0.24545205057836827"/>
        </c:manualLayout>
      </c:layout>
      <c:overlay val="0"/>
      <c:txPr>
        <a:bodyPr/>
        <a:lstStyle/>
        <a:p>
          <a:pPr>
            <a:defRPr sz="1047" b="1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0173749127333552E-2"/>
          <c:y val="8.5884908585011535E-2"/>
          <c:w val="0.74747609417008387"/>
          <c:h val="0.59141844979396241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сходно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2843489606465029E-2"/>
                  <c:y val="-3.1105326554494824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/>
                    </a:pPr>
                    <a:r>
                      <a:rPr lang="en-US" sz="915"/>
                      <a:t>11,88</a:t>
                    </a:r>
                    <a:r>
                      <a:rPr lang="en-US" sz="915" b="1" i="0" u="none" strike="noStrike" baseline="0">
                        <a:effectLst/>
                      </a:rPr>
                      <a:t>±0,29*</a:t>
                    </a:r>
                    <a:endParaRPr lang="en-US"/>
                  </a:p>
                </c:rich>
              </c:tx>
              <c:spPr>
                <a:noFill/>
                <a:ln w="25819">
                  <a:noFill/>
                </a:ln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B7E-407C-B83E-222785B8F6C0}"/>
                </c:ext>
              </c:extLst>
            </c:dLbl>
            <c:dLbl>
              <c:idx val="1"/>
              <c:layout>
                <c:manualLayout>
                  <c:x val="1.0702908005387524E-2"/>
                  <c:y val="-5.3182628651863129E-2"/>
                </c:manualLayout>
              </c:layout>
              <c:tx>
                <c:rich>
                  <a:bodyPr/>
                  <a:lstStyle/>
                  <a:p>
                    <a:pPr algn="ctr" rtl="0">
                      <a:defRPr/>
                    </a:pPr>
                    <a:r>
                      <a:rPr lang="en-US"/>
                      <a:t>6,21±0,12</a:t>
                    </a:r>
                  </a:p>
                  <a:p>
                    <a:pPr algn="ctr" rtl="0">
                      <a:defRPr/>
                    </a:pPr>
                    <a:endParaRPr lang="en-US"/>
                  </a:p>
                </c:rich>
              </c:tx>
              <c:spPr>
                <a:noFill/>
                <a:ln w="25819">
                  <a:noFill/>
                </a:ln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B7E-407C-B83E-222785B8F6C0}"/>
                </c:ext>
              </c:extLst>
            </c:dLbl>
            <c:spPr>
              <a:noFill/>
              <a:ln w="25819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Средняя продолжительность течения  ОРИ (дни), группа детей с нутритивным дефицитом</c:v>
                </c:pt>
                <c:pt idx="1">
                  <c:v>Средняя продолжительность течения ОРИ (дни), группа детей с нормальным нутритивным статусом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.88</c:v>
                </c:pt>
                <c:pt idx="1">
                  <c:v>6.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B7E-407C-B83E-222785B8F6C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Через год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3.2108724016162611E-2"/>
                  <c:y val="-4.413420510695612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/>
                    </a:pPr>
                    <a:r>
                      <a:rPr lang="en-US" sz="915" b="1" i="0" u="none" strike="noStrike" kern="1200" baseline="0">
                        <a:solidFill>
                          <a:sysClr val="windowText" lastClr="000000"/>
                        </a:solidFill>
                        <a:latin typeface="Times New Roman" pitchFamily="18" charset="0"/>
                        <a:cs typeface="Times New Roman" pitchFamily="18" charset="0"/>
                      </a:rPr>
                      <a:t>6,76</a:t>
                    </a:r>
                    <a:r>
                      <a:rPr lang="en-US" sz="915" b="1" i="0" u="none" strike="noStrike" kern="1200" baseline="0">
                        <a:solidFill>
                          <a:sysClr val="windowText" lastClr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rPr>
                      <a:t>±0,15</a:t>
                    </a:r>
                    <a:endParaRPr lang="en-US"/>
                  </a:p>
                </c:rich>
              </c:tx>
              <c:spPr>
                <a:noFill/>
                <a:ln w="25819">
                  <a:noFill/>
                </a:ln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B7E-407C-B83E-222785B8F6C0}"/>
                </c:ext>
              </c:extLst>
            </c:dLbl>
            <c:dLbl>
              <c:idx val="1"/>
              <c:layout>
                <c:manualLayout>
                  <c:x val="3.4249137067507707E-2"/>
                  <c:y val="-3.7913102423936453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/>
                    </a:pPr>
                    <a:r>
                      <a:rPr lang="en-US" sz="915"/>
                      <a:t>5,75</a:t>
                    </a:r>
                    <a:r>
                      <a:rPr lang="en-US" sz="915" b="1" i="0" u="none" strike="noStrike" baseline="0">
                        <a:effectLst/>
                      </a:rPr>
                      <a:t>±0,13</a:t>
                    </a:r>
                    <a:endParaRPr lang="en-US"/>
                  </a:p>
                </c:rich>
              </c:tx>
              <c:spPr>
                <a:noFill/>
                <a:ln w="25819">
                  <a:noFill/>
                </a:ln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B7E-407C-B83E-222785B8F6C0}"/>
                </c:ext>
              </c:extLst>
            </c:dLbl>
            <c:spPr>
              <a:noFill/>
              <a:ln w="25819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Средняя продолжительность течения  ОРИ (дни), группа детей с нутритивным дефицитом</c:v>
                </c:pt>
                <c:pt idx="1">
                  <c:v>Средняя продолжительность течения ОРИ (дни), группа детей с нормальным нутритивным статусом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6.76</c:v>
                </c:pt>
                <c:pt idx="1">
                  <c:v>5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9B7E-407C-B83E-222785B8F6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97934464"/>
        <c:axId val="197936256"/>
        <c:axId val="0"/>
      </c:bar3DChart>
      <c:catAx>
        <c:axId val="1979344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97936256"/>
        <c:crosses val="autoZero"/>
        <c:auto val="1"/>
        <c:lblAlgn val="ctr"/>
        <c:lblOffset val="100"/>
        <c:noMultiLvlLbl val="0"/>
      </c:catAx>
      <c:valAx>
        <c:axId val="1979362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97934464"/>
        <c:crosses val="autoZero"/>
        <c:crossBetween val="between"/>
      </c:valAx>
      <c:spPr>
        <a:noFill/>
        <a:ln w="25819">
          <a:noFill/>
        </a:ln>
      </c:spPr>
    </c:plotArea>
    <c:legend>
      <c:legendPos val="r"/>
      <c:layout>
        <c:manualLayout>
          <c:xMode val="edge"/>
          <c:yMode val="edge"/>
          <c:x val="0.2792526549235137"/>
          <c:y val="0.83666800460276913"/>
          <c:w val="0.33979655927698682"/>
          <c:h val="0.15372598461990736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118"/>
      </a:pPr>
      <a:endParaRPr lang="ru-RU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1818</cdr:x>
      <cdr:y>0.07241</cdr:y>
    </cdr:from>
    <cdr:to>
      <cdr:x>0.35227</cdr:x>
      <cdr:y>0.25793</cdr:y>
    </cdr:to>
    <cdr:sp macro="" textlink="">
      <cdr:nvSpPr>
        <cdr:cNvPr id="2" name="Arrow: Down 1">
          <a:extLst xmlns:a="http://schemas.openxmlformats.org/drawingml/2006/main">
            <a:ext uri="{FF2B5EF4-FFF2-40B4-BE49-F238E27FC236}">
              <a16:creationId xmlns:a16="http://schemas.microsoft.com/office/drawing/2014/main" xmlns="" id="{481B17E8-FFED-42C7-9A47-2F40364FC903}"/>
            </a:ext>
          </a:extLst>
        </cdr:cNvPr>
        <cdr:cNvSpPr/>
      </cdr:nvSpPr>
      <cdr:spPr>
        <a:xfrm xmlns:a="http://schemas.openxmlformats.org/drawingml/2006/main">
          <a:off x="2016224" y="252940"/>
          <a:ext cx="216024" cy="648072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B050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35227</cdr:x>
      <cdr:y>0.0757</cdr:y>
    </cdr:from>
    <cdr:to>
      <cdr:x>0.51136</cdr:x>
      <cdr:y>0.30244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xmlns="" id="{424B17DB-ADF8-45BD-9BC7-09C34F4242A4}"/>
            </a:ext>
          </a:extLst>
        </cdr:cNvPr>
        <cdr:cNvSpPr txBox="1"/>
      </cdr:nvSpPr>
      <cdr:spPr>
        <a:xfrm xmlns:a="http://schemas.openxmlformats.org/drawingml/2006/main">
          <a:off x="2232248" y="264428"/>
          <a:ext cx="1008112" cy="7920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600" dirty="0"/>
            <a:t>Снижение в </a:t>
          </a:r>
          <a:r>
            <a:rPr lang="ru-RU" sz="1600" b="1" dirty="0"/>
            <a:t>2,5</a:t>
          </a:r>
          <a:r>
            <a:rPr lang="ru-RU" sz="1600" dirty="0"/>
            <a:t> раза</a:t>
          </a:r>
          <a:endParaRPr lang="en-US" sz="1600" dirty="0"/>
        </a:p>
      </cdr:txBody>
    </cdr:sp>
  </cdr:relSizeAnchor>
  <cdr:relSizeAnchor xmlns:cdr="http://schemas.openxmlformats.org/drawingml/2006/chartDrawing">
    <cdr:from>
      <cdr:x>0.56903</cdr:x>
      <cdr:y>0.06188</cdr:y>
    </cdr:from>
    <cdr:to>
      <cdr:x>0.60312</cdr:x>
      <cdr:y>0.2474</cdr:y>
    </cdr:to>
    <cdr:sp macro="" textlink="">
      <cdr:nvSpPr>
        <cdr:cNvPr id="4" name="Arrow: Down 3">
          <a:extLst xmlns:a="http://schemas.openxmlformats.org/drawingml/2006/main">
            <a:ext uri="{FF2B5EF4-FFF2-40B4-BE49-F238E27FC236}">
              <a16:creationId xmlns:a16="http://schemas.microsoft.com/office/drawing/2014/main" xmlns="" id="{CB1EA0C5-5A69-4FBE-A19A-26673B270E21}"/>
            </a:ext>
          </a:extLst>
        </cdr:cNvPr>
        <cdr:cNvSpPr/>
      </cdr:nvSpPr>
      <cdr:spPr>
        <a:xfrm xmlns:a="http://schemas.openxmlformats.org/drawingml/2006/main">
          <a:off x="3605775" y="216173"/>
          <a:ext cx="216024" cy="648072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B050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60312</cdr:x>
      <cdr:y>0.06517</cdr:y>
    </cdr:from>
    <cdr:to>
      <cdr:x>0.76221</cdr:x>
      <cdr:y>0.29192</cdr:y>
    </cdr:to>
    <cdr:sp macro="" textlink="">
      <cdr:nvSpPr>
        <cdr:cNvPr id="5" name="TextBox 2">
          <a:extLst xmlns:a="http://schemas.openxmlformats.org/drawingml/2006/main">
            <a:ext uri="{FF2B5EF4-FFF2-40B4-BE49-F238E27FC236}">
              <a16:creationId xmlns:a16="http://schemas.microsoft.com/office/drawing/2014/main" xmlns="" id="{8BED752C-1864-4A7F-B2B3-456884519EB3}"/>
            </a:ext>
          </a:extLst>
        </cdr:cNvPr>
        <cdr:cNvSpPr txBox="1"/>
      </cdr:nvSpPr>
      <cdr:spPr>
        <a:xfrm xmlns:a="http://schemas.openxmlformats.org/drawingml/2006/main">
          <a:off x="3821799" y="227661"/>
          <a:ext cx="1008112" cy="7920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dirty="0"/>
            <a:t>Снижение в </a:t>
          </a:r>
          <a:r>
            <a:rPr lang="ru-RU" sz="1400" b="1" dirty="0"/>
            <a:t>1,5</a:t>
          </a:r>
          <a:r>
            <a:rPr lang="ru-RU" sz="1400" dirty="0"/>
            <a:t> раза</a:t>
          </a:r>
          <a:endParaRPr lang="en-US" sz="14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6227EB-6702-4190-9AB4-B321A83B54C8}" type="datetimeFigureOut">
              <a:rPr lang="ru-RU" smtClean="0"/>
              <a:t>20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631D4E-6144-4564-A9BA-9D2824A60C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485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53BBD1D-C142-43A6-ABF1-4F2CBAAAEF23}" type="slidenum">
              <a:rPr lang="ru-RU" smtClean="0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3</a:t>
            </a:fld>
            <a:endParaRPr lang="ru-RU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3399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9638D-97EE-436D-BE36-1D7F86CD4384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55704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9638D-97EE-436D-BE36-1D7F86CD4384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66007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300" dirty="0"/>
              <a:t>Стратегия комплекса оздоровительных мероприятий, проводимых детям в обеих группах с рецидивирующей респираторной патологией, включала </a:t>
            </a:r>
            <a:r>
              <a:rPr lang="ru-RU" sz="1300" dirty="0" err="1">
                <a:solidFill>
                  <a:srgbClr val="C00000"/>
                </a:solidFill>
              </a:rPr>
              <a:t>кинезиотерапию</a:t>
            </a:r>
            <a:r>
              <a:rPr lang="ru-RU" sz="1300" dirty="0">
                <a:solidFill>
                  <a:srgbClr val="C00000"/>
                </a:solidFill>
              </a:rPr>
              <a:t>,</a:t>
            </a:r>
            <a:r>
              <a:rPr lang="ru-RU" sz="1300" dirty="0"/>
              <a:t> </a:t>
            </a:r>
            <a:r>
              <a:rPr lang="ru-RU" sz="1300" dirty="0" err="1">
                <a:solidFill>
                  <a:srgbClr val="C00000"/>
                </a:solidFill>
              </a:rPr>
              <a:t>гипокситерапию</a:t>
            </a:r>
            <a:r>
              <a:rPr lang="ru-RU" sz="1300" dirty="0"/>
              <a:t>, </a:t>
            </a:r>
            <a:r>
              <a:rPr lang="ru-RU" sz="1300" dirty="0">
                <a:solidFill>
                  <a:srgbClr val="C00000"/>
                </a:solidFill>
              </a:rPr>
              <a:t>массаж стоп, кистей рук, спины и области малого таза </a:t>
            </a:r>
            <a:r>
              <a:rPr lang="ru-RU" sz="1300" dirty="0"/>
              <a:t>у детей проводился на объединенном комплексе с эластичным </a:t>
            </a:r>
            <a:r>
              <a:rPr lang="ru-RU" sz="1300" dirty="0" err="1"/>
              <a:t>псевдокипящим</a:t>
            </a:r>
            <a:r>
              <a:rPr lang="ru-RU" sz="1300" dirty="0"/>
              <a:t> слоем «Радуга-ЭПС» 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9638D-97EE-436D-BE36-1D7F86CD4384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18900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66155">
              <a:defRPr/>
            </a:pPr>
            <a:r>
              <a:rPr lang="ru-RU" sz="1300" dirty="0">
                <a:solidFill>
                  <a:srgbClr val="7030A0"/>
                </a:solidFill>
              </a:rPr>
              <a:t>При катамнестическом наблюдении пациентов первой группы через 12 месяцев было выявлено, что среднее количество эпизодов острых респираторных инфекций уменьшилось в 2,5 раза (с 7,12 до 2,9 эпизода). Средняя продолжительность течения эпизода болезни снизилась в 1,8 раза (11,88 до 6,76 дней. Снижение кратности заболеваний в течение года была отмечена у 81,2% детей. При этом у 74,3% детей вирусные инфекции протекали в легкой форме 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F9638D-97EE-436D-BE36-1D7F86CD4384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2482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9" name="Rectangle 8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5923F103-BC34-4FE4-A40E-EDDEECFDA5D0}" type="datetimeFigureOut">
              <a:rPr lang="en-US" dirty="0"/>
              <a:pPr/>
              <a:t>2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r>
              <a:rPr lang="en-US" dirty="0"/>
              <a:t>
             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352540" y="295729"/>
            <a:ext cx="838199" cy="767687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" name="Rectangle 12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3A1CC3-2375-41D4-9E03-427CAF2A4C1A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Oval 13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5"/>
            <p:cNvSpPr/>
            <p:nvPr/>
          </p:nvSpPr>
          <p:spPr bwMode="gray">
            <a:xfrm rot="21010068">
              <a:off x="8490951" y="271487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7" name="Freeform 5"/>
            <p:cNvSpPr/>
            <p:nvPr/>
          </p:nvSpPr>
          <p:spPr bwMode="gray">
            <a:xfrm>
              <a:off x="455612" y="2801319"/>
              <a:ext cx="11277600" cy="3602637"/>
            </a:xfrm>
            <a:custGeom>
              <a:avLst/>
              <a:gdLst/>
              <a:ahLst/>
              <a:cxnLst/>
              <a:rect l="l" t="t" r="r" b="b"/>
              <a:pathLst>
                <a:path w="10000" h="7946">
                  <a:moveTo>
                    <a:pt x="0" y="0"/>
                  </a:moveTo>
                  <a:lnTo>
                    <a:pt x="0" y="7945"/>
                  </a:lnTo>
                  <a:lnTo>
                    <a:pt x="10000" y="7946"/>
                  </a:lnTo>
                  <a:lnTo>
                    <a:pt x="10000" y="4"/>
                  </a:lnTo>
                  <a:lnTo>
                    <a:pt x="10000" y="4"/>
                  </a:lnTo>
                  <a:lnTo>
                    <a:pt x="9773" y="91"/>
                  </a:lnTo>
                  <a:lnTo>
                    <a:pt x="9547" y="175"/>
                  </a:lnTo>
                  <a:lnTo>
                    <a:pt x="9320" y="256"/>
                  </a:lnTo>
                  <a:lnTo>
                    <a:pt x="9092" y="326"/>
                  </a:lnTo>
                  <a:lnTo>
                    <a:pt x="8865" y="396"/>
                  </a:lnTo>
                  <a:lnTo>
                    <a:pt x="8637" y="462"/>
                  </a:lnTo>
                  <a:lnTo>
                    <a:pt x="8412" y="518"/>
                  </a:lnTo>
                  <a:lnTo>
                    <a:pt x="8184" y="571"/>
                  </a:lnTo>
                  <a:lnTo>
                    <a:pt x="7957" y="620"/>
                  </a:lnTo>
                  <a:lnTo>
                    <a:pt x="7734" y="662"/>
                  </a:lnTo>
                  <a:lnTo>
                    <a:pt x="7508" y="704"/>
                  </a:lnTo>
                  <a:lnTo>
                    <a:pt x="7285" y="739"/>
                  </a:lnTo>
                  <a:lnTo>
                    <a:pt x="7062" y="767"/>
                  </a:lnTo>
                  <a:lnTo>
                    <a:pt x="6840" y="795"/>
                  </a:lnTo>
                  <a:lnTo>
                    <a:pt x="6620" y="819"/>
                  </a:lnTo>
                  <a:lnTo>
                    <a:pt x="6402" y="837"/>
                  </a:lnTo>
                  <a:lnTo>
                    <a:pt x="6184" y="851"/>
                  </a:lnTo>
                  <a:lnTo>
                    <a:pt x="5968" y="865"/>
                  </a:lnTo>
                  <a:lnTo>
                    <a:pt x="5755" y="872"/>
                  </a:lnTo>
                  <a:lnTo>
                    <a:pt x="5542" y="879"/>
                  </a:lnTo>
                  <a:lnTo>
                    <a:pt x="5332" y="882"/>
                  </a:lnTo>
                  <a:lnTo>
                    <a:pt x="5124" y="879"/>
                  </a:lnTo>
                  <a:lnTo>
                    <a:pt x="4918" y="879"/>
                  </a:lnTo>
                  <a:lnTo>
                    <a:pt x="4714" y="872"/>
                  </a:lnTo>
                  <a:lnTo>
                    <a:pt x="4514" y="861"/>
                  </a:lnTo>
                  <a:lnTo>
                    <a:pt x="4316" y="851"/>
                  </a:lnTo>
                  <a:lnTo>
                    <a:pt x="4122" y="840"/>
                  </a:lnTo>
                  <a:lnTo>
                    <a:pt x="3929" y="823"/>
                  </a:lnTo>
                  <a:lnTo>
                    <a:pt x="3739" y="805"/>
                  </a:lnTo>
                  <a:lnTo>
                    <a:pt x="3553" y="788"/>
                  </a:lnTo>
                  <a:lnTo>
                    <a:pt x="3190" y="742"/>
                  </a:lnTo>
                  <a:lnTo>
                    <a:pt x="2842" y="693"/>
                  </a:lnTo>
                  <a:lnTo>
                    <a:pt x="2508" y="641"/>
                  </a:lnTo>
                  <a:lnTo>
                    <a:pt x="2192" y="585"/>
                  </a:lnTo>
                  <a:lnTo>
                    <a:pt x="1890" y="525"/>
                  </a:lnTo>
                  <a:lnTo>
                    <a:pt x="1610" y="462"/>
                  </a:lnTo>
                  <a:lnTo>
                    <a:pt x="1347" y="399"/>
                  </a:lnTo>
                  <a:lnTo>
                    <a:pt x="1105" y="336"/>
                  </a:lnTo>
                  <a:lnTo>
                    <a:pt x="883" y="277"/>
                  </a:lnTo>
                  <a:lnTo>
                    <a:pt x="686" y="221"/>
                  </a:lnTo>
                  <a:lnTo>
                    <a:pt x="508" y="168"/>
                  </a:lnTo>
                  <a:lnTo>
                    <a:pt x="358" y="123"/>
                  </a:lnTo>
                  <a:lnTo>
                    <a:pt x="232" y="81"/>
                  </a:lnTo>
                  <a:lnTo>
                    <a:pt x="59" y="2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16868-8199-4C2C-A5B1-63AEE139F88E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7" name="Rectangle 1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Oval 22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Oval 23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Oval 24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5"/>
            <p:cNvSpPr/>
            <p:nvPr/>
          </p:nvSpPr>
          <p:spPr bwMode="gray">
            <a:xfrm rot="21010068">
              <a:off x="8490951" y="41851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8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 dirty="0"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D9FF7F-6988-44CC-821B-644E70CD2F73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5"/>
            <p:cNvSpPr/>
            <p:nvPr/>
          </p:nvSpPr>
          <p:spPr bwMode="gray">
            <a:xfrm rot="21010068">
              <a:off x="8490951" y="4193583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8" name="Freeform 5"/>
            <p:cNvSpPr/>
            <p:nvPr/>
          </p:nvSpPr>
          <p:spPr bwMode="gray">
            <a:xfrm>
              <a:off x="455612" y="4241801"/>
              <a:ext cx="11277600" cy="2337161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12C299-16B2-4475-990D-751901EACC14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E86839-B9D8-4651-8783-F325ECE74E65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толбец с тремя рису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84F64-32F6-45C5-931F-ADC1662401D0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95439" y="6391838"/>
            <a:ext cx="990599" cy="304799"/>
          </a:xfrm>
        </p:spPr>
        <p:txBody>
          <a:bodyPr/>
          <a:lstStyle/>
          <a:p>
            <a:fld id="{53086D93-FCAC-47E0-A2EE-787E62CA814C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Rectangle 11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Rectangle 6"/>
            <p:cNvSpPr/>
            <p:nvPr/>
          </p:nvSpPr>
          <p:spPr bwMode="gray">
            <a:xfrm>
              <a:off x="414867" y="40216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3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CDA879A6-0FD0-4734-A311-86BFCA472E6E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377084" y="6429375"/>
            <a:ext cx="457176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fld id="{7D1AC3F7-7E83-4635-A1D0-EC66DE36BEEC}" type="slidenum">
              <a:rPr lang="ru-RU" altLang="ru-RU" sz="1800" smtClean="0">
                <a:solidFill>
                  <a:srgbClr val="7030A0"/>
                </a:solidFill>
                <a:latin typeface="Calibri" panose="020F0502020204030204" pitchFamily="34" charset="0"/>
              </a:rPr>
              <a:pPr eaLnBrk="1" hangingPunct="1">
                <a:defRPr/>
              </a:pPr>
              <a:t>‹#›</a:t>
            </a:fld>
            <a:endParaRPr lang="ru-RU" altLang="ru-RU" sz="1800">
              <a:solidFill>
                <a:srgbClr val="7030A0"/>
              </a:solidFill>
              <a:latin typeface="Calibri" panose="020F0502020204030204" pitchFamily="34" charset="0"/>
            </a:endParaRPr>
          </a:p>
        </p:txBody>
      </p:sp>
      <p:grpSp>
        <p:nvGrpSpPr>
          <p:cNvPr id="6" name="Группа 7"/>
          <p:cNvGrpSpPr>
            <a:grpSpLocks/>
          </p:cNvGrpSpPr>
          <p:nvPr userDrawn="1"/>
        </p:nvGrpSpPr>
        <p:grpSpPr bwMode="auto">
          <a:xfrm>
            <a:off x="239185" y="114301"/>
            <a:ext cx="1536700" cy="817563"/>
            <a:chOff x="144463" y="2152927"/>
            <a:chExt cx="3750643" cy="2582586"/>
          </a:xfrm>
        </p:grpSpPr>
        <p:pic>
          <p:nvPicPr>
            <p:cNvPr id="7" name="Picture 2"/>
            <p:cNvPicPr>
              <a:picLocks noChangeAspect="1" noChangeArrowheads="1"/>
            </p:cNvPicPr>
            <p:nvPr userDrawn="1">
              <p:custDataLst>
                <p:tags r:id="rId1"/>
              </p:custDataLst>
            </p:nvPr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44463" y="2152927"/>
              <a:ext cx="3750643" cy="2582586"/>
            </a:xfrm>
            <a:prstGeom prst="rect">
              <a:avLst/>
            </a:prstGeom>
            <a:noFill/>
            <a:ln w="31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</p:pic>
        <p:pic>
          <p:nvPicPr>
            <p:cNvPr id="8" name="Picture 7" descr="Logo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5327" y="3111336"/>
              <a:ext cx="2852889" cy="557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31371" y="1252800"/>
            <a:ext cx="11554784" cy="5161780"/>
          </a:xfrm>
          <a:prstGeom prst="rect">
            <a:avLst/>
          </a:prstGeom>
        </p:spPr>
        <p:txBody>
          <a:bodyPr/>
          <a:lstStyle>
            <a:lvl1pPr>
              <a:buClr>
                <a:srgbClr val="20358C"/>
              </a:buClr>
              <a:defRPr/>
            </a:lvl1pPr>
            <a:lvl2pPr marL="742950" indent="-285750">
              <a:buClr>
                <a:srgbClr val="20358C"/>
              </a:buClr>
              <a:buFont typeface="Arial" pitchFamily="34" charset="0"/>
              <a:buChar char="›"/>
              <a:defRPr/>
            </a:lvl2pPr>
            <a:lvl3pPr>
              <a:buClr>
                <a:srgbClr val="20358C"/>
              </a:buClr>
              <a:defRPr/>
            </a:lvl3pPr>
            <a:lvl4pPr>
              <a:buClr>
                <a:srgbClr val="20358C"/>
              </a:buClr>
              <a:defRPr/>
            </a:lvl4pPr>
            <a:lvl5pPr>
              <a:buClr>
                <a:srgbClr val="20358C"/>
              </a:buClr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035200" y="115200"/>
            <a:ext cx="9950955" cy="721512"/>
          </a:xfrm>
          <a:prstGeom prst="rect">
            <a:avLst/>
          </a:prstGeom>
        </p:spPr>
        <p:txBody>
          <a:bodyPr rtlCol="0">
            <a:normAutofit/>
          </a:bodyPr>
          <a:lstStyle>
            <a:lvl1pPr algn="r">
              <a:lnSpc>
                <a:spcPct val="80000"/>
              </a:lnSpc>
              <a:defRPr sz="2500">
                <a:solidFill>
                  <a:srgbClr val="20358C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0"/>
          </p:nvPr>
        </p:nvSpPr>
        <p:spPr>
          <a:xfrm>
            <a:off x="432000" y="6429374"/>
            <a:ext cx="6336000" cy="36893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00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02257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CA7B-DFD4-44B5-8C60-D14B8CD1FB59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Rectangle 9"/>
            <p:cNvSpPr/>
            <p:nvPr/>
          </p:nvSpPr>
          <p:spPr bwMode="gray">
            <a:xfrm>
              <a:off x="7289800" y="402165"/>
              <a:ext cx="44788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5"/>
            <p:cNvSpPr/>
            <p:nvPr/>
          </p:nvSpPr>
          <p:spPr bwMode="gray">
            <a:xfrm rot="16200000">
              <a:off x="3787244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5922489">
              <a:off x="4698352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E6425-0181-43F2-84FC-787E803FD2F8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B8791-F1B0-41E7-B7FD-A781E65C4266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DD63B2-E120-4ED8-B27B-C685F510A5FE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A18ACC-A947-437B-A130-35BD54FDF1E9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D7E02-BCB8-4D50-A234-369438C08659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7" name="Rectangle 6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Oval 21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5713412" y="402165"/>
              <a:ext cx="6055253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Freeform 5"/>
            <p:cNvSpPr/>
            <p:nvPr/>
          </p:nvSpPr>
          <p:spPr bwMode="gray">
            <a:xfrm rot="15922489">
              <a:off x="3140485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2229377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E86A4C-8E40-4F87-A4F0-01A0687C5742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4" name="Rectangle 13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Rectangle 10"/>
            <p:cNvSpPr/>
            <p:nvPr/>
          </p:nvSpPr>
          <p:spPr bwMode="gray">
            <a:xfrm>
              <a:off x="6172200" y="402165"/>
              <a:ext cx="5596465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5"/>
            <p:cNvSpPr/>
            <p:nvPr/>
          </p:nvSpPr>
          <p:spPr bwMode="gray">
            <a:xfrm rot="15922489">
              <a:off x="4203594" y="1826078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2" name="Freeform 5"/>
            <p:cNvSpPr/>
            <p:nvPr/>
          </p:nvSpPr>
          <p:spPr bwMode="gray">
            <a:xfrm rot="16200000">
              <a:off x="32954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72C73-2D91-4E12-BA25-F0AA0C03599B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
             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Rectangle 6"/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blipFill>
              <a:blip r:embed="rId20">
                <a:duotone>
                  <a:schemeClr val="dk2">
                    <a:shade val="69000"/>
                    <a:hueMod val="91000"/>
                    <a:satMod val="164000"/>
                    <a:lumMod val="74000"/>
                  </a:schemeClr>
                  <a:schemeClr val="dk2">
                    <a:hueMod val="124000"/>
                    <a:satMod val="140000"/>
                    <a:lumMod val="142000"/>
                  </a:schemeClr>
                </a:duotone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Oval 12"/>
            <p:cNvSpPr/>
            <p:nvPr/>
          </p:nvSpPr>
          <p:spPr>
            <a:xfrm>
              <a:off x="0" y="2667000"/>
              <a:ext cx="4191000" cy="41910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1000"/>
                  </a:schemeClr>
                </a:gs>
                <a:gs pos="75000">
                  <a:schemeClr val="accent5">
                    <a:alpha val="0"/>
                  </a:schemeClr>
                </a:gs>
                <a:gs pos="36000">
                  <a:schemeClr val="accent5">
                    <a:alpha val="1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Oval 14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8" name="Oval 17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Oval 15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Oval 16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5"/>
            <p:cNvSpPr/>
            <p:nvPr/>
          </p:nvSpPr>
          <p:spPr bwMode="gray">
            <a:xfrm rot="21010068">
              <a:off x="8490951" y="179751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9" name="Freeform 5"/>
            <p:cNvSpPr/>
            <p:nvPr/>
          </p:nvSpPr>
          <p:spPr bwMode="gray">
            <a:xfrm>
              <a:off x="459506" y="1866405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4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653104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 i="0">
                <a:solidFill>
                  <a:schemeClr val="accent1"/>
                </a:solidFill>
              </a:defRPr>
            </a:lvl1pPr>
          </a:lstStyle>
          <a:p>
            <a:fld id="{2BE451C3-0FF4-47C4-B829-773ADF60F88C}" type="datetimeFigureOut">
              <a:rPr lang="en-US" dirty="0"/>
              <a:t>2/2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
             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3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8" r:id="rId9"/>
    <p:sldLayoutId id="2147483667" r:id="rId10"/>
    <p:sldLayoutId id="2147483661" r:id="rId11"/>
    <p:sldLayoutId id="2147483672" r:id="rId12"/>
    <p:sldLayoutId id="2147483662" r:id="rId13"/>
    <p:sldLayoutId id="2147483669" r:id="rId14"/>
    <p:sldLayoutId id="2147483670" r:id="rId15"/>
    <p:sldLayoutId id="2147483658" r:id="rId16"/>
    <p:sldLayoutId id="2147483659" r:id="rId17"/>
    <p:sldLayoutId id="2147483674" r:id="rId18"/>
  </p:sldLayoutIdLst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old.smed.ru/guides/disases/66626/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000" dirty="0">
                <a:latin typeface="Times New Roman" panose="02020603050405020304" pitchFamily="18" charset="0"/>
                <a:ea typeface="MS Mincho" panose="02020609040205080304" pitchFamily="49" charset="-128"/>
              </a:rPr>
              <a:t>Недостаточность питания –фактор риска рецидивирующих болезней в детском возрасте</a:t>
            </a:r>
            <a:endParaRPr lang="ru-RU" sz="4000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54955" y="4873336"/>
            <a:ext cx="8825658" cy="1298864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Профессор кафедры педиатрии с курсом ИДПО </a:t>
            </a:r>
            <a:br>
              <a:rPr lang="ru-RU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Н.А. Дружинина </a:t>
            </a:r>
          </a:p>
          <a:p>
            <a:pPr algn="ctr"/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2020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79318" y="685800"/>
            <a:ext cx="9507681" cy="11079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200" b="1" i="1" u="none" strike="noStrike" kern="0" cap="none" spc="-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е государственное бюджетное учреждение высшего образования Башкирский государственный медицинский университет Министерства здравоохранения РФ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513784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" y="3693319"/>
            <a:ext cx="8999620" cy="4067049"/>
          </a:xfrm>
        </p:spPr>
        <p:txBody>
          <a:bodyPr/>
          <a:lstStyle/>
          <a:p>
            <a:pPr algn="l">
              <a:defRPr/>
            </a:pPr>
            <a:r>
              <a:rPr lang="ru-RU" sz="2400" b="1" i="1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У детей с БЭН, кроме снижения </a:t>
            </a:r>
            <a:r>
              <a:rPr lang="ru-RU" sz="2400" b="1" i="1" dirty="0" err="1">
                <a:solidFill>
                  <a:schemeClr val="accent3">
                    <a:lumMod val="50000"/>
                  </a:schemeClr>
                </a:solidFill>
                <a:latin typeface="+mn-lt"/>
              </a:rPr>
              <a:t>массо</a:t>
            </a:r>
            <a:r>
              <a:rPr lang="ru-RU" sz="2400" b="1" i="1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-ростовых показателей, отмечается повышенная возбудимость, дефицит внимания, тревожность, нарушение социальных контактов</a:t>
            </a:r>
            <a:br>
              <a:rPr lang="ru-RU" sz="2400" b="1" i="1" dirty="0">
                <a:solidFill>
                  <a:schemeClr val="accent3">
                    <a:lumMod val="50000"/>
                  </a:schemeClr>
                </a:solidFill>
                <a:latin typeface="+mn-lt"/>
              </a:rPr>
            </a:br>
            <a:r>
              <a:rPr lang="ru-RU" sz="2400" b="1" i="1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/>
            </a:r>
            <a:br>
              <a:rPr lang="ru-RU" sz="2400" b="1" i="1" dirty="0">
                <a:solidFill>
                  <a:schemeClr val="accent3">
                    <a:lumMod val="50000"/>
                  </a:schemeClr>
                </a:solidFill>
                <a:latin typeface="+mn-lt"/>
              </a:rPr>
            </a:br>
            <a:r>
              <a:rPr lang="ru-RU" sz="2400" b="1" i="1" dirty="0">
                <a:solidFill>
                  <a:schemeClr val="accent3">
                    <a:lumMod val="50000"/>
                  </a:schemeClr>
                </a:solidFill>
                <a:latin typeface="+mn-lt"/>
              </a:rPr>
              <a:t> У взрослых пациентов с БЭН наблюдается уменьшение массы тела, которое могут маскировать отеки. Они становятся апатичными, быстро устают, у них повышена чувствительность к холоду, наблюдается длительное заживление ран.</a:t>
            </a:r>
            <a:br>
              <a:rPr lang="ru-RU" sz="2400" b="1" i="1" dirty="0">
                <a:solidFill>
                  <a:schemeClr val="accent3">
                    <a:lumMod val="50000"/>
                  </a:schemeClr>
                </a:solidFill>
                <a:latin typeface="+mn-lt"/>
              </a:rPr>
            </a:br>
            <a:endParaRPr lang="ru-RU" sz="2400" b="1" i="1" dirty="0">
              <a:solidFill>
                <a:schemeClr val="accent3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7411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494" y="3693319"/>
            <a:ext cx="4752473" cy="3248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" y="0"/>
            <a:ext cx="12657221" cy="378565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2400" b="1" i="1" dirty="0">
                <a:solidFill>
                  <a:schemeClr val="accent4">
                    <a:lumMod val="50000"/>
                  </a:schemeClr>
                </a:solidFill>
                <a:hlinkClick r:id="rId3"/>
              </a:rPr>
              <a:t>Основные клинические признаки недостаточности питания</a:t>
            </a:r>
            <a:r>
              <a:rPr lang="ru-RU" sz="2400" b="1" i="1" dirty="0">
                <a:solidFill>
                  <a:schemeClr val="accent4">
                    <a:lumMod val="50000"/>
                  </a:schemeClr>
                </a:solidFill>
              </a:rPr>
              <a:t/>
            </a:r>
            <a:br>
              <a:rPr lang="ru-RU" sz="2400" b="1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*Синдром прогрессирующей потери массы тела.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*Астеновегетативный синдром.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*Стойкое снижение  работоспособности.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*Морфофункциональные изменения органов пищеварения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 (атрофия слизистой оболочки желудка и тонкой кишки,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 </a:t>
            </a:r>
            <a:r>
              <a:rPr lang="ru-RU" i="1" dirty="0" err="1">
                <a:solidFill>
                  <a:schemeClr val="accent4">
                    <a:lumMod val="50000"/>
                  </a:schemeClr>
                </a:solidFill>
              </a:rPr>
              <a:t>супрессия</a:t>
            </a: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 желудочного и кишечного </a:t>
            </a:r>
            <a:r>
              <a:rPr lang="ru-RU" i="1" dirty="0" err="1">
                <a:solidFill>
                  <a:schemeClr val="accent4">
                    <a:lumMod val="50000"/>
                  </a:schemeClr>
                </a:solidFill>
              </a:rPr>
              <a:t>сокоотделения</a:t>
            </a: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,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 нарушения переваривания и всасывания, дисбактериоз).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*Циркуляторная лабильность.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*Иммунодефициты.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*</a:t>
            </a:r>
            <a:r>
              <a:rPr lang="ru-RU" i="1" dirty="0" err="1">
                <a:solidFill>
                  <a:schemeClr val="accent4">
                    <a:lumMod val="50000"/>
                  </a:schemeClr>
                </a:solidFill>
              </a:rPr>
              <a:t>Полигиповитаминозы</a:t>
            </a: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.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*Синдром </a:t>
            </a:r>
            <a:r>
              <a:rPr lang="ru-RU" i="1" dirty="0" err="1">
                <a:solidFill>
                  <a:schemeClr val="accent4">
                    <a:lumMod val="50000"/>
                  </a:schemeClr>
                </a:solidFill>
              </a:rPr>
              <a:t>полигландулярной</a:t>
            </a:r>
            <a:r>
              <a:rPr lang="ru-RU" i="1" dirty="0">
                <a:solidFill>
                  <a:schemeClr val="accent4">
                    <a:lumMod val="50000"/>
                  </a:schemeClr>
                </a:solidFill>
              </a:rPr>
              <a:t> эндокринной недостаточности.</a:t>
            </a:r>
            <a:br>
              <a:rPr lang="ru-RU" i="1" dirty="0">
                <a:solidFill>
                  <a:schemeClr val="accent4">
                    <a:lumMod val="50000"/>
                  </a:schemeClr>
                </a:solidFill>
              </a:rPr>
            </a:br>
            <a:endParaRPr lang="ru-RU" i="1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9648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Прямоугольник 1"/>
          <p:cNvSpPr>
            <a:spLocks noChangeArrowheads="1"/>
          </p:cNvSpPr>
          <p:nvPr/>
        </p:nvSpPr>
        <p:spPr bwMode="auto">
          <a:xfrm>
            <a:off x="26320" y="-46873"/>
            <a:ext cx="9911767" cy="3785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 тяжелой острой Н.П. страдают около 20 млн. детей в возрасте до 5 лет.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них приходится 1-2млн. смертей в год, которые могли быть предотвращены простыми </a:t>
            </a:r>
            <a:r>
              <a:rPr lang="ru-RU" altLang="ru-RU" sz="2400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утритивными</a:t>
            </a:r>
            <a:r>
              <a:rPr lang="ru-RU" alt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мешательствами.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детей с тяжелой О.Н.П. характерен повышенный в 9 раз риск смерти. </a:t>
            </a:r>
          </a:p>
          <a:p>
            <a:pPr>
              <a:spcBef>
                <a:spcPct val="0"/>
              </a:spcBef>
              <a:buFontTx/>
              <a:buNone/>
            </a:pPr>
            <a:endParaRPr lang="ru-RU" alt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*В настоящее время работает программа разработанная ВОЗ- «10 шагов к решению проблемы тяжелой острой Н.П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Дети с тяжелой осложненной Н.П.(</a:t>
            </a:r>
            <a:r>
              <a:rPr lang="ru-RU" altLang="ru-RU" sz="240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плохим аппетитом, лихорадкой, пневмонией, отеками, обезвоживанием и младше 6 месяцев</a:t>
            </a:r>
            <a:r>
              <a:rPr lang="ru-RU" altLang="ru-RU" sz="2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должны получать необходимый курс лечения в  стационаре</a:t>
            </a:r>
            <a:endParaRPr lang="ru-RU" altLang="ru-RU" sz="24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pic>
        <p:nvPicPr>
          <p:cNvPr id="3" name="Picture 7" descr="D:\Мои документы\Фирмы\Прогресс\sushi_ri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51088" y="4223084"/>
            <a:ext cx="2952750" cy="2230105"/>
          </a:xfrm>
          <a:prstGeom prst="rect">
            <a:avLst/>
          </a:prstGeom>
          <a:noFill/>
          <a:ln w="3175">
            <a:solidFill>
              <a:srgbClr val="002060"/>
            </a:solidFill>
            <a:prstDash val="sysDot"/>
            <a:miter lim="800000"/>
            <a:headEnd/>
            <a:tailEnd/>
          </a:ln>
          <a:effectLst>
            <a:outerShdw blurRad="50800" dist="63500" dir="2700000" algn="tl" rotWithShape="0">
              <a:srgbClr val="002060">
                <a:alpha val="40000"/>
              </a:srgbClr>
            </a:outerShdw>
          </a:effectLst>
        </p:spPr>
      </p:pic>
      <p:pic>
        <p:nvPicPr>
          <p:cNvPr id="4" name="Picture 19" descr="banana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72399" y="4223084"/>
            <a:ext cx="3814011" cy="2526632"/>
          </a:xfrm>
          <a:prstGeom prst="rect">
            <a:avLst/>
          </a:prstGeom>
          <a:noFill/>
          <a:ln w="3175">
            <a:solidFill>
              <a:srgbClr val="002060"/>
            </a:solidFill>
            <a:prstDash val="sysDot"/>
            <a:miter lim="800000"/>
            <a:headEnd/>
            <a:tailEnd/>
          </a:ln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142050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"/>
            <a:ext cx="12191999" cy="1268413"/>
          </a:xfrm>
          <a:solidFill>
            <a:schemeClr val="accent1">
              <a:lumMod val="40000"/>
              <a:lumOff val="60000"/>
            </a:schemeClr>
          </a:solidFill>
        </p:spPr>
        <p:txBody>
          <a:bodyPr/>
          <a:lstStyle/>
          <a:p>
            <a:pPr eaLnBrk="1" hangingPunct="1"/>
            <a:r>
              <a:rPr lang="ru-RU" sz="3200" dirty="0">
                <a:solidFill>
                  <a:schemeClr val="accent6">
                    <a:lumMod val="50000"/>
                  </a:schemeClr>
                </a:solidFill>
              </a:rPr>
              <a:t>Факторы , предрасполагающие к гипотрофии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1524000" y="1844676"/>
            <a:ext cx="8955088" cy="5013325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>
                <a:solidFill>
                  <a:schemeClr val="folHlink"/>
                </a:solidFill>
              </a:rPr>
              <a:t>)</a:t>
            </a:r>
          </a:p>
        </p:txBody>
      </p:sp>
      <p:graphicFrame>
        <p:nvGraphicFramePr>
          <p:cNvPr id="8226" name="Group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5383693"/>
              </p:ext>
            </p:extLst>
          </p:nvPr>
        </p:nvGraphicFramePr>
        <p:xfrm>
          <a:off x="0" y="1268414"/>
          <a:ext cx="12055641" cy="5713416"/>
        </p:xfrm>
        <a:graphic>
          <a:graphicData uri="http://schemas.openxmlformats.org/drawingml/2006/table">
            <a:tbl>
              <a:tblPr/>
              <a:tblGrid>
                <a:gridCol w="93441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115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438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Эндогенные факторы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Экзогенные факторы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221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Врожденные пороки развити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Врожденные или приобретенные поражения ЦНС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Алиментарный (количественный и качественный недокорм)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275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Синдром мальабсорбци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Врожденные иммунодефицитные состояния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При естественном и искусственном вскармливании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9130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Некоторые эндокринные заболевания(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пангипопитуитаризм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. Б-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нь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 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Аддисона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, нарушения ф-</a:t>
                      </a:r>
                      <a:r>
                        <a:rPr kumimoji="0" lang="ru-RU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ции</a:t>
                      </a:r>
                      <a:r>
                        <a:rPr kumimoji="0" 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 щитов. железы)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Неправильное введение прикорма, дефицит ухода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837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Наследственные нарушения обмена веществ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Длительные интоксикации при хронических инфекционных заболеваниях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>
                        <a:ln>
                          <a:noFill/>
                        </a:ln>
                        <a:solidFill>
                          <a:srgbClr val="000094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605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Тяжелые острые инфекционные заболевания, сопровождающиеся рвотой, частым стулом)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>
                        <a:ln>
                          <a:noFill/>
                        </a:ln>
                        <a:solidFill>
                          <a:srgbClr val="000094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17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Т</a:t>
                      </a: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яжелые неинфекционные заболевания (злокачественные опухоли. Сердечно-сосудистая и дыхательная недостаточность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>
                        <a:ln>
                          <a:noFill/>
                        </a:ln>
                        <a:solidFill>
                          <a:srgbClr val="000094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>
                        <a:ln>
                          <a:noFill/>
                        </a:ln>
                        <a:solidFill>
                          <a:srgbClr val="000094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8EE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670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000094"/>
                          </a:solidFill>
                          <a:effectLst/>
                          <a:latin typeface="Tahoma" pitchFamily="34" charset="0"/>
                        </a:rPr>
                        <a:t>Тяжелая термическая и сочетанная травма </a:t>
                      </a: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rgbClr val="000094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marT="45711" marB="4571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7816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680632"/>
          </a:xfrm>
          <a:solidFill>
            <a:schemeClr val="accent1">
              <a:lumMod val="50000"/>
            </a:schemeClr>
          </a:solidFill>
        </p:spPr>
        <p:txBody>
          <a:bodyPr/>
          <a:lstStyle/>
          <a:p>
            <a:r>
              <a:rPr lang="ru-RU" sz="3200" dirty="0"/>
              <a:t>Основные методы для оценки </a:t>
            </a:r>
            <a:r>
              <a:rPr lang="ru-RU" sz="3200" dirty="0" err="1"/>
              <a:t>нутритивного</a:t>
            </a:r>
            <a:r>
              <a:rPr lang="ru-RU" sz="3200" dirty="0"/>
              <a:t> статуса</a:t>
            </a: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2536897"/>
              </p:ext>
            </p:extLst>
          </p:nvPr>
        </p:nvGraphicFramePr>
        <p:xfrm>
          <a:off x="-132348" y="1680630"/>
          <a:ext cx="12324348" cy="51773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621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621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52760">
                <a:tc>
                  <a:txBody>
                    <a:bodyPr/>
                    <a:lstStyle/>
                    <a:p>
                      <a:r>
                        <a:rPr lang="ru-RU" sz="1800" dirty="0"/>
                        <a:t>Клинические </a:t>
                      </a: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Лабораторные</a:t>
                      </a:r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52760">
                <a:tc>
                  <a:txBody>
                    <a:bodyPr/>
                    <a:lstStyle/>
                    <a:p>
                      <a:r>
                        <a:rPr lang="ru-RU" sz="1800" dirty="0"/>
                        <a:t>Анамнестические данные</a:t>
                      </a: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092409">
                <a:tc>
                  <a:txBody>
                    <a:bodyPr/>
                    <a:lstStyle/>
                    <a:p>
                      <a:r>
                        <a:rPr lang="ru-RU" sz="1800" dirty="0"/>
                        <a:t>Клинический осмотр с учетом специфических симптомов </a:t>
                      </a:r>
                      <a:r>
                        <a:rPr lang="ru-RU" sz="1800" dirty="0" err="1"/>
                        <a:t>гипотрофиии</a:t>
                      </a:r>
                      <a:r>
                        <a:rPr lang="ru-RU" sz="1800" dirty="0"/>
                        <a:t> гиповитаминоза</a:t>
                      </a: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r>
                        <a:rPr lang="ru-RU" sz="1800" dirty="0"/>
                        <a:t>-содержание сывороточного альбумина и короткоживущих белков</a:t>
                      </a:r>
                    </a:p>
                    <a:p>
                      <a:r>
                        <a:rPr lang="ru-RU" sz="1800" dirty="0"/>
                        <a:t>-оценка иммунного статуса</a:t>
                      </a:r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52760">
                <a:tc>
                  <a:txBody>
                    <a:bodyPr/>
                    <a:lstStyle/>
                    <a:p>
                      <a:r>
                        <a:rPr lang="ru-RU" sz="1800" dirty="0"/>
                        <a:t>Антропометрия с расчетом </a:t>
                      </a:r>
                      <a:r>
                        <a:rPr lang="en-US" sz="1800" dirty="0"/>
                        <a:t>z-score</a:t>
                      </a:r>
                      <a:endParaRPr lang="ru-RU" sz="1800" dirty="0"/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126682">
                <a:tc>
                  <a:txBody>
                    <a:bodyPr/>
                    <a:lstStyle/>
                    <a:p>
                      <a:r>
                        <a:rPr lang="ru-RU" sz="1800" dirty="0"/>
                        <a:t>Измерение толщины кожно-жировых складок</a:t>
                      </a:r>
                    </a:p>
                  </a:txBody>
                  <a:tcPr marT="45721" marB="45721"/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T="45721" marB="45721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01429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476251"/>
            <a:ext cx="9612313" cy="6265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26520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Прямоугольник 1"/>
          <p:cNvSpPr>
            <a:spLocks noChangeArrowheads="1"/>
          </p:cNvSpPr>
          <p:nvPr/>
        </p:nvSpPr>
        <p:spPr bwMode="auto">
          <a:xfrm>
            <a:off x="1847851" y="476250"/>
            <a:ext cx="8569325" cy="2738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Антропометрические данные являются ключевым способом оценки нутритивного статуса ребенка</a:t>
            </a:r>
          </a:p>
          <a:p>
            <a:pPr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Методы оценки  по таблицам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 перцентильных величин и по сигмальным отклонениям-</a:t>
            </a:r>
            <a:r>
              <a:rPr lang="en-US" altLang="ru-RU" sz="2400">
                <a:solidFill>
                  <a:srgbClr val="002060"/>
                </a:solidFill>
                <a:latin typeface="Arial" panose="020B0604020202020204" pitchFamily="34" charset="0"/>
              </a:rPr>
              <a:t>Z-score(WHO Child growth standards, </a:t>
            </a: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программа </a:t>
            </a:r>
            <a:r>
              <a:rPr lang="en-US" altLang="ru-RU" sz="2400">
                <a:solidFill>
                  <a:srgbClr val="002060"/>
                </a:solidFill>
                <a:latin typeface="Arial" panose="020B0604020202020204" pitchFamily="34" charset="0"/>
              </a:rPr>
              <a:t>Antroplus,2009</a:t>
            </a: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г.</a:t>
            </a:r>
          </a:p>
          <a:p>
            <a:pPr>
              <a:spcBef>
                <a:spcPct val="0"/>
              </a:spcBef>
              <a:buFontTx/>
              <a:buNone/>
            </a:pPr>
            <a:endParaRPr lang="ru-RU" altLang="ru-RU" sz="2800">
              <a:solidFill>
                <a:srgbClr val="C00000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2063750" y="3284539"/>
          <a:ext cx="8064500" cy="30734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3181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326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1009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D60093"/>
                          </a:solidFill>
                          <a:effectLst/>
                        </a:rPr>
                        <a:t>Острая БЭН (истощение, потеря массы тела)</a:t>
                      </a:r>
                      <a:endParaRPr lang="ru-RU" sz="1800" dirty="0">
                        <a:solidFill>
                          <a:srgbClr val="D60093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D60093"/>
                          </a:solidFill>
                          <a:effectLst/>
                        </a:rPr>
                        <a:t>Хроническая БЭН (задержка роста)</a:t>
                      </a:r>
                      <a:endParaRPr lang="ru-RU" sz="1800" dirty="0">
                        <a:solidFill>
                          <a:srgbClr val="D60093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31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Масса/рост &lt;2</a:t>
                      </a:r>
                      <a:r>
                        <a:rPr lang="en-US" sz="1600" dirty="0">
                          <a:solidFill>
                            <a:srgbClr val="C00000"/>
                          </a:solidFill>
                          <a:effectLst/>
                        </a:rPr>
                        <a:t>z</a:t>
                      </a: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&gt;-3</a:t>
                      </a:r>
                      <a:r>
                        <a:rPr lang="en-US" sz="1600" dirty="0">
                          <a:solidFill>
                            <a:srgbClr val="C00000"/>
                          </a:solidFill>
                          <a:effectLst/>
                        </a:rPr>
                        <a:t>z</a:t>
                      </a: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(умеренная)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Рост/возраст</a:t>
                      </a:r>
                      <a:r>
                        <a:rPr lang="en-US" sz="1600" dirty="0">
                          <a:solidFill>
                            <a:srgbClr val="C00000"/>
                          </a:solidFill>
                          <a:effectLst/>
                        </a:rPr>
                        <a:t>&lt;-2z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931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C00000"/>
                          </a:solidFill>
                          <a:effectLst/>
                        </a:rPr>
                        <a:t>Масса/рост </a:t>
                      </a:r>
                      <a:r>
                        <a:rPr lang="en-US" sz="1600">
                          <a:solidFill>
                            <a:srgbClr val="C00000"/>
                          </a:solidFill>
                          <a:effectLst/>
                        </a:rPr>
                        <a:t>&lt;-3z</a:t>
                      </a:r>
                      <a:r>
                        <a:rPr lang="ru-RU" sz="1600">
                          <a:solidFill>
                            <a:srgbClr val="C00000"/>
                          </a:solidFill>
                          <a:effectLst/>
                        </a:rPr>
                        <a:t>(тяжелая)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Рост/возраст </a:t>
                      </a:r>
                      <a:r>
                        <a:rPr lang="en-US" sz="1600" dirty="0">
                          <a:solidFill>
                            <a:srgbClr val="C00000"/>
                          </a:solidFill>
                          <a:effectLst/>
                        </a:rPr>
                        <a:t>&lt;5</a:t>
                      </a: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перцентилей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31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solidFill>
                            <a:srgbClr val="C00000"/>
                          </a:solidFill>
                          <a:effectLst/>
                        </a:rPr>
                        <a:t>Масса/рост </a:t>
                      </a:r>
                      <a:r>
                        <a:rPr lang="en-US" sz="1600">
                          <a:solidFill>
                            <a:srgbClr val="C00000"/>
                          </a:solidFill>
                          <a:effectLst/>
                        </a:rPr>
                        <a:t>&lt; 5</a:t>
                      </a:r>
                      <a:r>
                        <a:rPr lang="ru-RU" sz="1600">
                          <a:solidFill>
                            <a:srgbClr val="C00000"/>
                          </a:solidFill>
                          <a:effectLst/>
                        </a:rPr>
                        <a:t>перцентилей</a:t>
                      </a:r>
                      <a:endParaRPr lang="ru-RU" sz="16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 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931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ИМТ/возраст </a:t>
                      </a:r>
                      <a:r>
                        <a:rPr lang="en-US" sz="1600" dirty="0">
                          <a:solidFill>
                            <a:srgbClr val="C00000"/>
                          </a:solidFill>
                          <a:effectLst/>
                        </a:rPr>
                        <a:t>&lt;-2z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solidFill>
                            <a:srgbClr val="C00000"/>
                          </a:solidFill>
                          <a:effectLst/>
                        </a:rPr>
                        <a:t> </a:t>
                      </a:r>
                      <a:endParaRPr lang="ru-RU" sz="16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7" marR="68577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34855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847851" y="1252538"/>
            <a:ext cx="8666163" cy="5345112"/>
          </a:xfrm>
        </p:spPr>
        <p:txBody>
          <a:bodyPr>
            <a:normAutofit fontScale="92500"/>
          </a:bodyPr>
          <a:lstStyle/>
          <a:p>
            <a:pPr>
              <a:defRPr/>
            </a:pPr>
            <a:r>
              <a:rPr lang="ru-RU" sz="2400" dirty="0"/>
              <a:t>Тяжелая потеря массы тела у детей или взрослых </a:t>
            </a:r>
          </a:p>
          <a:p>
            <a:pPr marL="0" indent="0">
              <a:buNone/>
              <a:defRPr/>
            </a:pPr>
            <a:r>
              <a:rPr lang="ru-RU" dirty="0"/>
              <a:t>(отсутствие прибавки массы тела у ребенка, которые приводят к тому, что выявляемая масса тела оказывается как минимум на 3 стандартных отклонения ниже среднего показателя для эталонной группы . Голодный отек)</a:t>
            </a:r>
          </a:p>
          <a:p>
            <a:pPr>
              <a:defRPr/>
            </a:pPr>
            <a:r>
              <a:rPr lang="ru-RU" sz="2400" dirty="0">
                <a:solidFill>
                  <a:srgbClr val="C00000"/>
                </a:solidFill>
              </a:rPr>
              <a:t>E44.0 Умеренная </a:t>
            </a:r>
            <a:r>
              <a:rPr lang="ru-RU" sz="2400" dirty="0" err="1">
                <a:solidFill>
                  <a:srgbClr val="C00000"/>
                </a:solidFill>
              </a:rPr>
              <a:t>белково</a:t>
            </a:r>
            <a:r>
              <a:rPr lang="ru-RU" sz="2400" dirty="0">
                <a:solidFill>
                  <a:srgbClr val="C00000"/>
                </a:solidFill>
              </a:rPr>
              <a:t>-энергетическая недостаточность</a:t>
            </a:r>
          </a:p>
          <a:p>
            <a:pPr>
              <a:defRPr/>
            </a:pPr>
            <a:r>
              <a:rPr lang="ru-RU" dirty="0"/>
              <a:t>Потеря массы тела у детей или взрослых или отсутствие прибавки массы тела у ребенка, которые приводят к тому, что выявляемая масса тела оказывается ниже среднего показателя для эталонной группы населения на 2 стандартных отклонения или более, но менее чем на 3  отклонения</a:t>
            </a:r>
            <a:endParaRPr lang="ru-RU" sz="2400" dirty="0"/>
          </a:p>
          <a:p>
            <a:pPr>
              <a:defRPr/>
            </a:pPr>
            <a:r>
              <a:rPr lang="ru-RU" sz="2400" dirty="0">
                <a:solidFill>
                  <a:srgbClr val="C00000"/>
                </a:solidFill>
              </a:rPr>
              <a:t>E44.1 Легкая </a:t>
            </a:r>
            <a:r>
              <a:rPr lang="ru-RU" sz="2400" dirty="0" err="1">
                <a:solidFill>
                  <a:srgbClr val="C00000"/>
                </a:solidFill>
              </a:rPr>
              <a:t>белково</a:t>
            </a:r>
            <a:r>
              <a:rPr lang="ru-RU" sz="2400" dirty="0">
                <a:solidFill>
                  <a:srgbClr val="C00000"/>
                </a:solidFill>
              </a:rPr>
              <a:t>-энергетическая недостаточность</a:t>
            </a:r>
          </a:p>
          <a:p>
            <a:pPr>
              <a:defRPr/>
            </a:pPr>
            <a:r>
              <a:rPr lang="ru-RU" dirty="0"/>
              <a:t>Потеря массы тела у детей или взрослых или отсутствие прибавки массы тела у ребенка, которые приводят к тому, что выявляемая масса тела оказывается ниже среднего показателя для эталонной группы населения на 1 или более, но менее чем на 2 стандартных отклонения </a:t>
            </a:r>
          </a:p>
          <a:p>
            <a:pPr>
              <a:defRPr/>
            </a:pPr>
            <a:endParaRPr lang="ru-RU" sz="2400" dirty="0">
              <a:solidFill>
                <a:srgbClr val="C00000"/>
              </a:solidFill>
            </a:endParaRPr>
          </a:p>
          <a:p>
            <a:pPr>
              <a:defRPr/>
            </a:pPr>
            <a:endParaRPr lang="ru-RU" sz="2400" dirty="0"/>
          </a:p>
          <a:p>
            <a:pPr>
              <a:defRPr/>
            </a:pPr>
            <a:endParaRPr lang="ru-RU" sz="2400" dirty="0">
              <a:solidFill>
                <a:srgbClr val="C00000"/>
              </a:solidFill>
            </a:endParaRPr>
          </a:p>
          <a:p>
            <a:pPr>
              <a:defRPr/>
            </a:pPr>
            <a:endParaRPr lang="ru-RU" sz="2400" dirty="0">
              <a:solidFill>
                <a:srgbClr val="C00000"/>
              </a:solidFill>
            </a:endParaRPr>
          </a:p>
          <a:p>
            <a:pPr>
              <a:defRPr/>
            </a:pPr>
            <a:endParaRPr lang="ru-RU" dirty="0"/>
          </a:p>
        </p:txBody>
      </p:sp>
      <p:sp useBgFill="1">
        <p:nvSpPr>
          <p:cNvPr id="25603" name="Заголовок 2"/>
          <p:cNvSpPr>
            <a:spLocks noGrp="1"/>
          </p:cNvSpPr>
          <p:nvPr>
            <p:ph type="title"/>
          </p:nvPr>
        </p:nvSpPr>
        <p:spPr>
          <a:xfrm>
            <a:off x="1631951" y="115888"/>
            <a:ext cx="8882063" cy="1009650"/>
          </a:xfrm>
        </p:spPr>
        <p:txBody>
          <a:bodyPr/>
          <a:lstStyle/>
          <a:p>
            <a:pPr algn="just"/>
            <a:r>
              <a:rPr lang="ru-RU" sz="2000"/>
              <a:t>E43.0 Тяжелая белково-энергетическая недостаточность </a:t>
            </a:r>
            <a:br>
              <a:rPr lang="ru-RU" sz="2000"/>
            </a:br>
            <a:r>
              <a:rPr lang="ru-RU" sz="2000"/>
              <a:t>неуточненная</a:t>
            </a:r>
            <a:br>
              <a:rPr lang="ru-RU" sz="2000"/>
            </a:br>
            <a:endParaRPr lang="ru-RU" sz="2000"/>
          </a:p>
        </p:txBody>
      </p:sp>
    </p:spTree>
    <p:extLst>
      <p:ext uri="{BB962C8B-B14F-4D97-AF65-F5344CB8AC3E}">
        <p14:creationId xmlns:p14="http://schemas.microsoft.com/office/powerpoint/2010/main" val="9877237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626" name="Заголовок 1"/>
          <p:cNvSpPr>
            <a:spLocks noGrp="1"/>
          </p:cNvSpPr>
          <p:nvPr>
            <p:ph type="title"/>
          </p:nvPr>
        </p:nvSpPr>
        <p:spPr>
          <a:xfrm>
            <a:off x="1524001" y="115889"/>
            <a:ext cx="8990013" cy="720725"/>
          </a:xfrm>
        </p:spPr>
        <p:txBody>
          <a:bodyPr>
            <a:normAutofit fontScale="90000"/>
          </a:bodyPr>
          <a:lstStyle/>
          <a:p>
            <a:r>
              <a:rPr lang="ru-RU"/>
              <a:t>Классификация ВОЗ предполагает наличие умеренной и тяжелой степени недостаточности питания</a:t>
            </a:r>
          </a:p>
        </p:txBody>
      </p:sp>
      <p:sp>
        <p:nvSpPr>
          <p:cNvPr id="26627" name="Объект 2"/>
          <p:cNvSpPr>
            <a:spLocks noGrp="1"/>
          </p:cNvSpPr>
          <p:nvPr>
            <p:ph idx="1"/>
          </p:nvPr>
        </p:nvSpPr>
        <p:spPr>
          <a:xfrm>
            <a:off x="1703389" y="1268414"/>
            <a:ext cx="8810625" cy="5843587"/>
          </a:xfrm>
        </p:spPr>
        <p:txBody>
          <a:bodyPr/>
          <a:lstStyle/>
          <a:p>
            <a:r>
              <a:rPr lang="ru-RU"/>
              <a:t>Легкая степень НП </a:t>
            </a:r>
            <a:r>
              <a:rPr lang="en-US"/>
              <a:t>z-score </a:t>
            </a:r>
            <a:r>
              <a:rPr lang="ru-RU"/>
              <a:t>от -1до-2. МКБ-10 код Е44.1)</a:t>
            </a:r>
          </a:p>
          <a:p>
            <a:r>
              <a:rPr lang="ru-RU"/>
              <a:t>Средне-тяжелая форма НП  </a:t>
            </a:r>
            <a:r>
              <a:rPr lang="en-US"/>
              <a:t>z-score </a:t>
            </a:r>
            <a:r>
              <a:rPr lang="ru-RU"/>
              <a:t> от -2до-3</a:t>
            </a:r>
          </a:p>
          <a:p>
            <a:r>
              <a:rPr lang="ru-RU"/>
              <a:t>Тяжелая форма НП </a:t>
            </a:r>
            <a:r>
              <a:rPr lang="en-US"/>
              <a:t>z-score </a:t>
            </a:r>
            <a:r>
              <a:rPr lang="ru-RU"/>
              <a:t>от -2до-3</a:t>
            </a:r>
          </a:p>
          <a:p>
            <a:endParaRPr lang="ru-RU"/>
          </a:p>
          <a:p>
            <a:endParaRPr lang="ru-RU" sz="2000"/>
          </a:p>
          <a:p>
            <a:endParaRPr lang="ru-RU" sz="2000"/>
          </a:p>
        </p:txBody>
      </p:sp>
      <p:sp>
        <p:nvSpPr>
          <p:cNvPr id="26628" name="Текст 3"/>
          <p:cNvSpPr>
            <a:spLocks noGrp="1"/>
          </p:cNvSpPr>
          <p:nvPr>
            <p:ph type="body" sz="quarter" idx="10"/>
          </p:nvPr>
        </p:nvSpPr>
        <p:spPr>
          <a:xfrm>
            <a:off x="2351088" y="2205039"/>
            <a:ext cx="7777162" cy="287337"/>
          </a:xfrm>
        </p:spPr>
        <p:txBody>
          <a:bodyPr>
            <a:normAutofit fontScale="25000" lnSpcReduction="20000"/>
          </a:bodyPr>
          <a:lstStyle/>
          <a:p>
            <a:r>
              <a:rPr lang="ru-RU" sz="1400">
                <a:solidFill>
                  <a:srgbClr val="7030A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                    </a:t>
            </a:r>
          </a:p>
          <a:p>
            <a:r>
              <a:rPr lang="ru-RU" sz="1400">
                <a:solidFill>
                  <a:srgbClr val="7030A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Основные синдромы дефицита отдельных микроэлементов</a:t>
            </a:r>
          </a:p>
          <a:p>
            <a:endParaRPr lang="ru-RU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778736"/>
              </p:ext>
            </p:extLst>
          </p:nvPr>
        </p:nvGraphicFramePr>
        <p:xfrm>
          <a:off x="676566" y="2492376"/>
          <a:ext cx="11379076" cy="53917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966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6824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06210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  <a:effectLst/>
                        </a:rPr>
                        <a:t>микроэлемент</a:t>
                      </a:r>
                      <a:endParaRPr lang="ru-RU" sz="2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                                               </a:t>
                      </a:r>
                      <a:r>
                        <a:rPr lang="ru-RU" sz="2000" dirty="0">
                          <a:solidFill>
                            <a:srgbClr val="C00000"/>
                          </a:solidFill>
                          <a:effectLst/>
                        </a:rPr>
                        <a:t>Симптомы дефицита</a:t>
                      </a:r>
                      <a:endParaRPr lang="ru-RU" sz="2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02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  <a:effectLst/>
                        </a:rPr>
                        <a:t>железо</a:t>
                      </a:r>
                      <a:endParaRPr lang="ru-RU" sz="2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Анемия, изменения поведения вялость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623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  <a:effectLst/>
                        </a:rPr>
                        <a:t>цинк</a:t>
                      </a:r>
                      <a:endParaRPr lang="ru-RU" sz="2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Нарушения роста, поражение кожи, анорексия, </a:t>
                      </a:r>
                      <a:r>
                        <a:rPr lang="ru-RU" sz="1800" dirty="0" err="1">
                          <a:solidFill>
                            <a:srgbClr val="C00000"/>
                          </a:solidFill>
                          <a:effectLst/>
                        </a:rPr>
                        <a:t>гипогонадизм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623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  <a:effectLst/>
                        </a:rPr>
                        <a:t>медь</a:t>
                      </a:r>
                      <a:endParaRPr lang="ru-RU" sz="2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err="1">
                          <a:solidFill>
                            <a:srgbClr val="C00000"/>
                          </a:solidFill>
                          <a:effectLst/>
                        </a:rPr>
                        <a:t>Нейтропения</a:t>
                      </a: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, анемия, </a:t>
                      </a:r>
                      <a:r>
                        <a:rPr lang="ru-RU" sz="1800" dirty="0" err="1">
                          <a:solidFill>
                            <a:srgbClr val="C00000"/>
                          </a:solidFill>
                          <a:effectLst/>
                        </a:rPr>
                        <a:t>гипоальбуинурия</a:t>
                      </a: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, </a:t>
                      </a:r>
                      <a:r>
                        <a:rPr lang="ru-RU" sz="1800" dirty="0" err="1">
                          <a:solidFill>
                            <a:srgbClr val="C00000"/>
                          </a:solidFill>
                          <a:effectLst/>
                        </a:rPr>
                        <a:t>гипофорремия</a:t>
                      </a: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,  остеопороз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170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  <a:effectLst/>
                        </a:rPr>
                        <a:t>Хром</a:t>
                      </a:r>
                      <a:endParaRPr lang="ru-RU" sz="2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Нарушение толерантности к глюкозе, нарушения роста, </a:t>
                      </a:r>
                      <a:r>
                        <a:rPr lang="ru-RU" sz="1800" dirty="0" err="1">
                          <a:solidFill>
                            <a:srgbClr val="C00000"/>
                          </a:solidFill>
                          <a:effectLst/>
                        </a:rPr>
                        <a:t>переферическая</a:t>
                      </a: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 </a:t>
                      </a:r>
                      <a:r>
                        <a:rPr lang="ru-RU" sz="1800" dirty="0" err="1">
                          <a:solidFill>
                            <a:srgbClr val="C00000"/>
                          </a:solidFill>
                          <a:effectLst/>
                        </a:rPr>
                        <a:t>нейропатия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48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  <a:effectLst/>
                        </a:rPr>
                        <a:t>Фтор</a:t>
                      </a:r>
                      <a:endParaRPr lang="ru-RU" sz="2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Кариес зубов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488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solidFill>
                            <a:srgbClr val="C00000"/>
                          </a:solidFill>
                          <a:effectLst/>
                        </a:rPr>
                        <a:t>йод</a:t>
                      </a:r>
                      <a:endParaRPr lang="ru-RU" sz="20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гипотиреоз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6" marR="68586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074864" y="7948613"/>
            <a:ext cx="11096625" cy="538162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accent1">
                <a:gamma/>
                <a:shade val="60000"/>
                <a:invGamma/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>
              <a:defRPr/>
            </a:pPr>
            <a:r>
              <a:rPr lang="ru-RU" sz="11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сновные синдромы дефицита отдельных микроэлементов</a:t>
            </a:r>
            <a:endParaRPr lang="ru-RU" sz="700" dirty="0"/>
          </a:p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59540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Прямоугольник 1"/>
          <p:cNvSpPr>
            <a:spLocks noChangeArrowheads="1"/>
          </p:cNvSpPr>
          <p:nvPr/>
        </p:nvSpPr>
        <p:spPr bwMode="auto">
          <a:xfrm>
            <a:off x="1703388" y="188914"/>
            <a:ext cx="8856662" cy="5754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b="1">
                <a:solidFill>
                  <a:srgbClr val="FF0000"/>
                </a:solidFill>
                <a:latin typeface="Garamond,Bold"/>
              </a:rPr>
              <a:t>Критерии недостаточности питания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200">
                <a:solidFill>
                  <a:srgbClr val="002060"/>
                </a:solidFill>
                <a:latin typeface="Arial" panose="020B0604020202020204" pitchFamily="34" charset="0"/>
              </a:rPr>
              <a:t> </a:t>
            </a:r>
            <a:r>
              <a:rPr lang="ru-RU" altLang="ru-RU" sz="2400" i="1">
                <a:solidFill>
                  <a:srgbClr val="002060"/>
                </a:solidFill>
                <a:latin typeface="Arial,Italic"/>
              </a:rPr>
              <a:t>Общеклинические </a:t>
            </a: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(осмотр) – состояние кожных покровов,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слизистых, волос, ногтей, зубов, мышечной ткани, подкожно-жирового слоя, а также микросимптоматика возможной витаминной и минеральной недостаточности;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 </a:t>
            </a:r>
            <a:r>
              <a:rPr lang="ru-RU" altLang="ru-RU" sz="2400" i="1">
                <a:solidFill>
                  <a:srgbClr val="002060"/>
                </a:solidFill>
                <a:latin typeface="Arial,Italic"/>
              </a:rPr>
              <a:t>Массо</a:t>
            </a:r>
            <a:r>
              <a:rPr lang="ru-RU" altLang="ru-RU" sz="2400" i="1">
                <a:solidFill>
                  <a:srgbClr val="002060"/>
                </a:solidFill>
                <a:latin typeface="Arial" panose="020B0604020202020204" pitchFamily="34" charset="0"/>
              </a:rPr>
              <a:t>-</a:t>
            </a:r>
            <a:r>
              <a:rPr lang="ru-RU" altLang="ru-RU" sz="2400" i="1">
                <a:solidFill>
                  <a:srgbClr val="002060"/>
                </a:solidFill>
                <a:latin typeface="Arial,Italic"/>
              </a:rPr>
              <a:t>ростовые </a:t>
            </a: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показатели; индекс массы тела; окружность плеча, толщина кожно-жировой складки над трицепсом; окружность мышц плеча;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 Данные </a:t>
            </a:r>
            <a:r>
              <a:rPr lang="ru-RU" altLang="ru-RU" sz="2400" i="1">
                <a:solidFill>
                  <a:srgbClr val="002060"/>
                </a:solidFill>
                <a:latin typeface="Arial,Italic"/>
              </a:rPr>
              <a:t>импедансометрии</a:t>
            </a: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, отражающие состав тела и соотношение тощей массы и п/к жировой клетчатки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 </a:t>
            </a:r>
            <a:r>
              <a:rPr lang="ru-RU" altLang="ru-RU" sz="2400" i="1">
                <a:solidFill>
                  <a:srgbClr val="002060"/>
                </a:solidFill>
                <a:latin typeface="Arial,Italic"/>
              </a:rPr>
              <a:t>Антропометрические </a:t>
            </a: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показатели оцениваются по  центильным таблицам величин, рекомендованных ВОЗ;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 </a:t>
            </a:r>
            <a:r>
              <a:rPr lang="ru-RU" altLang="ru-RU" sz="2400" i="1">
                <a:solidFill>
                  <a:srgbClr val="002060"/>
                </a:solidFill>
                <a:latin typeface="Arial,Italic"/>
              </a:rPr>
              <a:t>Биохимические </a:t>
            </a: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показатели: общий белок, альбумин,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400">
                <a:solidFill>
                  <a:srgbClr val="002060"/>
                </a:solidFill>
                <a:latin typeface="Arial" panose="020B0604020202020204" pitchFamily="34" charset="0"/>
              </a:rPr>
              <a:t>короткоживущие белки (трансферрин, преальбумин транстиретин и др</a:t>
            </a:r>
            <a:r>
              <a:rPr lang="ru-RU" altLang="ru-RU" sz="2400">
                <a:solidFill>
                  <a:srgbClr val="FFFFFF"/>
                </a:solidFill>
                <a:latin typeface="Arial" panose="020B0604020202020204" pitchFamily="34" charset="0"/>
              </a:rPr>
              <a:t>.</a:t>
            </a:r>
            <a:r>
              <a:rPr lang="ru-RU" altLang="ru-RU" sz="1800">
                <a:solidFill>
                  <a:srgbClr val="FFFFFF"/>
                </a:solidFill>
                <a:latin typeface="Arial" panose="020B0604020202020204" pitchFamily="34" charset="0"/>
              </a:rPr>
              <a:t>),</a:t>
            </a:r>
            <a:endParaRPr lang="ru-RU" altLang="ru-RU" sz="180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16016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519545" y="1697358"/>
          <a:ext cx="11035145" cy="4480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700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256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54160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49784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67360">
                <a:tc>
                  <a:txBody>
                    <a:bodyPr/>
                    <a:lstStyle/>
                    <a:p>
                      <a:r>
                        <a:rPr lang="ru-RU" sz="2400" dirty="0"/>
                        <a:t>Степень</a:t>
                      </a:r>
                      <a:r>
                        <a:rPr lang="en-US" sz="2400" dirty="0">
                          <a:latin typeface="Algerian" panose="04020705040A02060702" pitchFamily="82" charset="0"/>
                        </a:rPr>
                        <a:t> </a:t>
                      </a:r>
                      <a:r>
                        <a:rPr lang="ru-RU" sz="2400" dirty="0"/>
                        <a:t>недостаточности</a:t>
                      </a:r>
                      <a:r>
                        <a:rPr lang="ru-RU" sz="2400" baseline="0" dirty="0"/>
                        <a:t> </a:t>
                      </a:r>
                      <a:r>
                        <a:rPr lang="ru-RU" sz="2400" dirty="0"/>
                        <a:t>питан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легка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средня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/>
                        <a:t>тяжела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17880">
                <a:tc>
                  <a:txBody>
                    <a:bodyPr/>
                    <a:lstStyle/>
                    <a:p>
                      <a:r>
                        <a:rPr lang="ru-RU" sz="2400" dirty="0"/>
                        <a:t>Потеря массы тела в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&lt;10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10-20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&gt;20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17880">
                <a:tc>
                  <a:txBody>
                    <a:bodyPr/>
                    <a:lstStyle/>
                    <a:p>
                      <a:r>
                        <a:rPr lang="ru-RU" sz="2400" dirty="0"/>
                        <a:t>Сывороточный</a:t>
                      </a:r>
                      <a:r>
                        <a:rPr lang="ru-RU" sz="2400" baseline="0" dirty="0"/>
                        <a:t> альбумин г/л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&gt;35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32-28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&lt;28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17880">
                <a:tc>
                  <a:txBody>
                    <a:bodyPr/>
                    <a:lstStyle/>
                    <a:p>
                      <a:r>
                        <a:rPr lang="ru-RU" sz="2400" dirty="0"/>
                        <a:t>Сывороточный </a:t>
                      </a:r>
                      <a:r>
                        <a:rPr lang="ru-RU" sz="2400" dirty="0" err="1"/>
                        <a:t>трансферрин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&gt;2,5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1,8-2,5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&lt;1,25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17880">
                <a:tc>
                  <a:txBody>
                    <a:bodyPr/>
                    <a:lstStyle/>
                    <a:p>
                      <a:r>
                        <a:rPr lang="ru-RU" sz="2400" dirty="0"/>
                        <a:t>Число лимфоцит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1800-1500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900-1500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>
                          <a:latin typeface="Algerian" panose="04020705040A02060702" pitchFamily="82" charset="0"/>
                        </a:rPr>
                        <a:t>&lt;900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406236" y="6488668"/>
            <a:ext cx="50707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Morley et all 1995 Chapman u nelson.1994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835727" y="663333"/>
            <a:ext cx="89846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cap="all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КЛАССИФИКАЦИЯ НЕДОСТАТОЧНОСТИ ПИТАНИЯ</a:t>
            </a:r>
          </a:p>
        </p:txBody>
      </p:sp>
    </p:spTree>
    <p:extLst>
      <p:ext uri="{BB962C8B-B14F-4D97-AF65-F5344CB8AC3E}">
        <p14:creationId xmlns:p14="http://schemas.microsoft.com/office/powerpoint/2010/main" val="14219165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16972" y="618518"/>
            <a:ext cx="10831418" cy="1303801"/>
          </a:xfrm>
          <a:solidFill>
            <a:schemeClr val="accent3">
              <a:lumMod val="40000"/>
              <a:lumOff val="60000"/>
            </a:schemeClr>
          </a:solidFill>
        </p:spPr>
        <p:txBody>
          <a:bodyPr>
            <a:norm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Проблема рецидивирующих ОРЗ сохраняет свою актуальность</a:t>
            </a:r>
            <a:endParaRPr lang="ru-RU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04800" y="2129355"/>
            <a:ext cx="1140092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b="1" dirty="0"/>
              <a:t>ОРЗ составляют до 90% всей инфекционной патологии и около 70% общей заболеваемости</a:t>
            </a:r>
            <a:r>
              <a:rPr lang="ru-RU" b="1" i="1" dirty="0"/>
              <a:t/>
            </a:r>
            <a:br>
              <a:rPr lang="ru-RU" b="1" i="1" dirty="0"/>
            </a:br>
            <a:endParaRPr lang="ru-RU" b="1" i="1" dirty="0"/>
          </a:p>
        </p:txBody>
      </p:sp>
      <p:sp>
        <p:nvSpPr>
          <p:cNvPr id="6" name="TextBox 5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Прямоугольник 4"/>
          <p:cNvSpPr/>
          <p:nvPr/>
        </p:nvSpPr>
        <p:spPr>
          <a:xfrm>
            <a:off x="132522" y="3813719"/>
            <a:ext cx="11648153" cy="25853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3600" b="1" i="1" dirty="0"/>
              <a:t>40% детей дошкольного возраста и </a:t>
            </a:r>
          </a:p>
          <a:p>
            <a:r>
              <a:rPr lang="ru-RU" sz="3600" b="1" i="1" dirty="0"/>
              <a:t>15% детей младшего школьного возраста страдают рецидивирующими респираторными заболеваниями и относятся к группе ЧБД</a:t>
            </a:r>
            <a:r>
              <a:rPr lang="ru-RU" b="1" i="1" dirty="0"/>
              <a:t/>
            </a:r>
            <a:br>
              <a:rPr lang="ru-RU" b="1" i="1" dirty="0"/>
            </a:br>
            <a:endParaRPr lang="ru-RU" b="1" i="1" dirty="0"/>
          </a:p>
        </p:txBody>
      </p:sp>
    </p:spTree>
    <p:extLst>
      <p:ext uri="{BB962C8B-B14F-4D97-AF65-F5344CB8AC3E}">
        <p14:creationId xmlns:p14="http://schemas.microsoft.com/office/powerpoint/2010/main" val="7827987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33846" y="748146"/>
            <a:ext cx="107082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cap="all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НАРУШЕНИЯ нутритивнОГО статус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450518" y="1333848"/>
            <a:ext cx="99374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i="1" dirty="0">
                <a:solidFill>
                  <a:srgbClr val="0070C0"/>
                </a:solidFill>
              </a:rPr>
              <a:t>Нутритивный статус коррелирует с уровнем заболеваемости и смертности</a:t>
            </a:r>
            <a:endParaRPr lang="ru-RU" sz="2400" i="1" dirty="0">
              <a:solidFill>
                <a:srgbClr val="0070C0"/>
              </a:solidFill>
            </a:endParaRPr>
          </a:p>
        </p:txBody>
      </p:sp>
      <p:sp>
        <p:nvSpPr>
          <p:cNvPr id="10" name="Прямоугольник 8"/>
          <p:cNvSpPr/>
          <p:nvPr/>
        </p:nvSpPr>
        <p:spPr>
          <a:xfrm>
            <a:off x="420379" y="2217185"/>
            <a:ext cx="1161436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002060"/>
                </a:solidFill>
              </a:rPr>
              <a:t>Выше частота инфекционных эпизодов, осложнений, случаев хронизации =</a:t>
            </a:r>
            <a:r>
              <a:rPr lang="en-US" sz="2400" dirty="0">
                <a:solidFill>
                  <a:srgbClr val="002060"/>
                </a:solidFill>
              </a:rPr>
              <a:t>&gt;</a:t>
            </a:r>
            <a:r>
              <a:rPr lang="ru-RU" sz="2400" dirty="0">
                <a:solidFill>
                  <a:srgbClr val="002060"/>
                </a:solidFill>
              </a:rPr>
              <a:t> чаще необходимость госпитализаций (в 2,5 раза) =</a:t>
            </a:r>
            <a:r>
              <a:rPr lang="en-US" sz="2400" dirty="0">
                <a:solidFill>
                  <a:srgbClr val="002060"/>
                </a:solidFill>
              </a:rPr>
              <a:t>&gt;</a:t>
            </a:r>
            <a:r>
              <a:rPr lang="ru-RU" sz="2400" dirty="0">
                <a:solidFill>
                  <a:srgbClr val="002060"/>
                </a:solidFill>
              </a:rPr>
              <a:t> выше длительность пребывания в стационаре и показатели летальности</a:t>
            </a:r>
          </a:p>
        </p:txBody>
      </p:sp>
      <p:sp>
        <p:nvSpPr>
          <p:cNvPr id="11" name="Прямоугольник 8"/>
          <p:cNvSpPr/>
          <p:nvPr/>
        </p:nvSpPr>
        <p:spPr>
          <a:xfrm>
            <a:off x="420379" y="4759570"/>
            <a:ext cx="11997763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002060"/>
                </a:solidFill>
              </a:rPr>
              <a:t>Увеличение частоты побочных эффектов от специфической терапии - противосудорожной, гормональной, </a:t>
            </a:r>
            <a:r>
              <a:rPr lang="ru-RU" sz="2400" dirty="0" err="1">
                <a:solidFill>
                  <a:srgbClr val="002060"/>
                </a:solidFill>
              </a:rPr>
              <a:t>химио</a:t>
            </a:r>
            <a:r>
              <a:rPr lang="ru-RU" sz="2400" dirty="0">
                <a:solidFill>
                  <a:srgbClr val="002060"/>
                </a:solidFill>
              </a:rPr>
              <a:t>- радиолечения и др.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002060"/>
                </a:solidFill>
              </a:rPr>
              <a:t>У детей сопряжена с задержкой роста и развития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002060"/>
                </a:solidFill>
              </a:rPr>
              <a:t>Экономические потери: затраты на лечение пациента повышаются </a:t>
            </a:r>
            <a:r>
              <a:rPr lang="ru-RU" sz="2400" b="1" dirty="0">
                <a:solidFill>
                  <a:srgbClr val="002060"/>
                </a:solidFill>
              </a:rPr>
              <a:t>на 20-30%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12" name="Arrow: Down 11"/>
          <p:cNvSpPr/>
          <p:nvPr/>
        </p:nvSpPr>
        <p:spPr>
          <a:xfrm>
            <a:off x="3784149" y="3914085"/>
            <a:ext cx="484632" cy="32707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Arrow: Up 12"/>
          <p:cNvSpPr/>
          <p:nvPr/>
        </p:nvSpPr>
        <p:spPr>
          <a:xfrm>
            <a:off x="7573993" y="3284591"/>
            <a:ext cx="484632" cy="978408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3575637" y="3333632"/>
            <a:ext cx="9411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rgbClr val="FF0000"/>
                </a:solidFill>
              </a:rPr>
              <a:t>5%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498896" y="4262999"/>
            <a:ext cx="12767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002060"/>
                </a:solidFill>
              </a:rPr>
              <a:t>Масса тел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176396" y="3469854"/>
            <a:ext cx="18230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rgbClr val="FF0000"/>
                </a:solidFill>
              </a:rPr>
              <a:t>в 2 раз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922638" y="4272668"/>
            <a:ext cx="17873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</a:rPr>
              <a:t>Длительность госпитализации </a:t>
            </a:r>
          </a:p>
        </p:txBody>
      </p:sp>
    </p:spTree>
    <p:extLst>
      <p:ext uri="{BB962C8B-B14F-4D97-AF65-F5344CB8AC3E}">
        <p14:creationId xmlns:p14="http://schemas.microsoft.com/office/powerpoint/2010/main" val="38446571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ъект 1"/>
          <p:cNvSpPr>
            <a:spLocks noGrp="1"/>
          </p:cNvSpPr>
          <p:nvPr>
            <p:ph idx="1"/>
          </p:nvPr>
        </p:nvSpPr>
        <p:spPr>
          <a:xfrm>
            <a:off x="1847851" y="1252538"/>
            <a:ext cx="8666163" cy="5162550"/>
          </a:xfrm>
        </p:spPr>
        <p:txBody>
          <a:bodyPr/>
          <a:lstStyle/>
          <a:p>
            <a:endParaRPr lang="ru-RU"/>
          </a:p>
        </p:txBody>
      </p:sp>
      <p:sp>
        <p:nvSpPr>
          <p:cNvPr id="28675" name="Заголовок 2"/>
          <p:cNvSpPr>
            <a:spLocks noGrp="1"/>
          </p:cNvSpPr>
          <p:nvPr>
            <p:ph type="title"/>
          </p:nvPr>
        </p:nvSpPr>
        <p:spPr>
          <a:xfrm>
            <a:off x="3051175" y="115889"/>
            <a:ext cx="7462838" cy="720725"/>
          </a:xfrm>
        </p:spPr>
        <p:txBody>
          <a:bodyPr/>
          <a:lstStyle/>
          <a:p>
            <a:endParaRPr lang="ru-RU"/>
          </a:p>
        </p:txBody>
      </p:sp>
      <p:sp>
        <p:nvSpPr>
          <p:cNvPr id="28676" name="Текст 3"/>
          <p:cNvSpPr>
            <a:spLocks noGrp="1"/>
          </p:cNvSpPr>
          <p:nvPr>
            <p:ph type="body" sz="quarter" idx="10"/>
          </p:nvPr>
        </p:nvSpPr>
        <p:spPr>
          <a:xfrm>
            <a:off x="1847850" y="6429375"/>
            <a:ext cx="4751388" cy="368300"/>
          </a:xfrm>
        </p:spPr>
        <p:txBody>
          <a:bodyPr/>
          <a:lstStyle/>
          <a:p>
            <a:endParaRPr lang="ru-RU"/>
          </a:p>
        </p:txBody>
      </p:sp>
      <p:pic>
        <p:nvPicPr>
          <p:cNvPr id="28677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-228600"/>
            <a:ext cx="9753600" cy="731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67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38125"/>
            <a:ext cx="12548936" cy="733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301627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9698" name="Прямоугольник 1"/>
          <p:cNvSpPr>
            <a:spLocks noChangeArrowheads="1"/>
          </p:cNvSpPr>
          <p:nvPr/>
        </p:nvSpPr>
        <p:spPr bwMode="auto">
          <a:xfrm>
            <a:off x="2063750" y="549275"/>
            <a:ext cx="7704138" cy="369888"/>
          </a:xfrm>
          <a:prstGeom prst="rect">
            <a:avLst/>
          </a:prstGeom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800">
              <a:solidFill>
                <a:srgbClr val="7030A0"/>
              </a:solidFill>
              <a:latin typeface="Arial" panose="020B0604020202020204" pitchFamily="34" charset="0"/>
            </a:endParaRPr>
          </a:p>
        </p:txBody>
      </p:sp>
      <p:sp useBgFill="1">
        <p:nvSpPr>
          <p:cNvPr id="29699" name="Заголовок 1"/>
          <p:cNvSpPr>
            <a:spLocks noGrp="1"/>
          </p:cNvSpPr>
          <p:nvPr>
            <p:ph type="title"/>
          </p:nvPr>
        </p:nvSpPr>
        <p:spPr>
          <a:xfrm>
            <a:off x="1524001" y="115889"/>
            <a:ext cx="8990013" cy="803275"/>
          </a:xfrm>
        </p:spPr>
        <p:txBody>
          <a:bodyPr>
            <a:normAutofit fontScale="90000"/>
          </a:bodyPr>
          <a:lstStyle/>
          <a:p>
            <a:pPr algn="ctr"/>
            <a:r>
              <a:rPr lang="ru-RU"/>
              <a:t>         Скрининговые таблицы для оценки нутритивного риска</a:t>
            </a:r>
            <a:br>
              <a:rPr lang="ru-RU"/>
            </a:br>
            <a:r>
              <a:rPr lang="ru-RU"/>
              <a:t>           (</a:t>
            </a:r>
            <a:r>
              <a:rPr lang="ru-RU" sz="1800"/>
              <a:t>педиатрические </a:t>
            </a:r>
            <a:r>
              <a:rPr lang="ru-RU" sz="1800">
                <a:solidFill>
                  <a:srgbClr val="7030A0"/>
                </a:solidFill>
              </a:rPr>
              <a:t>шкалы риска развития недостаточности питания)</a:t>
            </a:r>
          </a:p>
        </p:txBody>
      </p:sp>
      <p:graphicFrame>
        <p:nvGraphicFramePr>
          <p:cNvPr id="2" name="Объект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7249234"/>
              </p:ext>
            </p:extLst>
          </p:nvPr>
        </p:nvGraphicFramePr>
        <p:xfrm>
          <a:off x="92764" y="1073426"/>
          <a:ext cx="12099233" cy="59036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442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8785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037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125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04360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0717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826734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Этап 1: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Диагностика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 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Этап 2: 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Потребляемая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Калорийность.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Этап 3: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Масса тела и рост.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 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9732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Имеются ли у ребенка патологические состояния, способные являться причиной нарушения питания?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Баллы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Какова потребляемая ребенком калорийность пищи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Баллы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Используя таблицы роста или </a:t>
                      </a:r>
                      <a:r>
                        <a:rPr lang="ru-RU" sz="1400" dirty="0" err="1">
                          <a:solidFill>
                            <a:srgbClr val="C00000"/>
                          </a:solidFill>
                          <a:effectLst/>
                        </a:rPr>
                        <a:t>референтные</a:t>
                      </a: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 </a:t>
                      </a:r>
                      <a:r>
                        <a:rPr lang="ru-RU" sz="1400" dirty="0" err="1">
                          <a:solidFill>
                            <a:srgbClr val="C00000"/>
                          </a:solidFill>
                          <a:effectLst/>
                        </a:rPr>
                        <a:t>центильные</a:t>
                      </a: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 таблицы, оцените соответствие параметров ребенка стандартным показателям. Определите, на сколько колонок (целителей) значения роста и массы тела отличаются от стандартных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Баллы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083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Определенно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3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Ребенок не принимает пищу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3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На 3 колонки (или масса&lt;3 </a:t>
                      </a:r>
                      <a:r>
                        <a:rPr lang="ru-RU" sz="1400" dirty="0" err="1">
                          <a:solidFill>
                            <a:srgbClr val="C00000"/>
                          </a:solidFill>
                          <a:effectLst/>
                        </a:rPr>
                        <a:t>центилей</a:t>
                      </a: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.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3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267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Возможно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2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Недавно уменьшилась или низкая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2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 На 2 колонки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1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444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Отсутствуют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0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Не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изменилась или адекватная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solidFill>
                            <a:srgbClr val="C00000"/>
                          </a:solidFill>
                          <a:effectLst/>
                        </a:rPr>
                        <a:t>0</a:t>
                      </a:r>
                      <a:endParaRPr lang="ru-RU" sz="14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На 0 – 1 колонку.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0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74" marR="68574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29741" name="Текст 3"/>
          <p:cNvSpPr>
            <a:spLocks noGrp="1"/>
          </p:cNvSpPr>
          <p:nvPr>
            <p:ph type="body" sz="quarter" idx="10"/>
          </p:nvPr>
        </p:nvSpPr>
        <p:spPr>
          <a:xfrm>
            <a:off x="1847850" y="6858001"/>
            <a:ext cx="4751388" cy="100013"/>
          </a:xfrm>
        </p:spPr>
        <p:txBody>
          <a:bodyPr>
            <a:normAutofit fontScale="25000" lnSpcReduction="20000"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42869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08419188"/>
              </p:ext>
            </p:extLst>
          </p:nvPr>
        </p:nvGraphicFramePr>
        <p:xfrm>
          <a:off x="0" y="1003819"/>
          <a:ext cx="12032971" cy="294828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9449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805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480803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Этап 4 :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Общий риск недостаточности питания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221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Суммируйте значения индексов, полученные на этапах 1 – 3 с целью оценки общей вероятности недостаточности питания у ребенка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C00000"/>
                          </a:solidFill>
                          <a:effectLst/>
                        </a:rPr>
                        <a:t>Баллы</a:t>
                      </a:r>
                      <a:endParaRPr lang="ru-RU" sz="18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42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Высокий риск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C00000"/>
                          </a:solidFill>
                          <a:effectLst/>
                        </a:rPr>
                        <a:t>&gt;4</a:t>
                      </a:r>
                      <a:endParaRPr lang="ru-RU" sz="18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42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Средний риск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solidFill>
                            <a:srgbClr val="C00000"/>
                          </a:solidFill>
                          <a:effectLst/>
                        </a:rPr>
                        <a:t>2 – 3</a:t>
                      </a:r>
                      <a:endParaRPr lang="ru-RU" sz="180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42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Низкий риск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solidFill>
                            <a:srgbClr val="C00000"/>
                          </a:solidFill>
                          <a:effectLst/>
                        </a:rPr>
                        <a:t>0 - 1</a:t>
                      </a:r>
                      <a:endParaRPr lang="ru-RU" sz="18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 useBgFill="1">
        <p:nvSpPr>
          <p:cNvPr id="30741" name="Заголовок 2"/>
          <p:cNvSpPr>
            <a:spLocks noGrp="1"/>
          </p:cNvSpPr>
          <p:nvPr>
            <p:ph type="title"/>
          </p:nvPr>
        </p:nvSpPr>
        <p:spPr>
          <a:xfrm>
            <a:off x="2208214" y="163514"/>
            <a:ext cx="7462837" cy="720725"/>
          </a:xfrm>
        </p:spPr>
        <p:txBody>
          <a:bodyPr/>
          <a:lstStyle/>
          <a:p>
            <a:r>
              <a:rPr lang="ru-RU"/>
              <a:t>Скрининговые таблицы для оценки нутритивного риска</a:t>
            </a:r>
          </a:p>
        </p:txBody>
      </p:sp>
      <p:sp>
        <p:nvSpPr>
          <p:cNvPr id="30742" name="Текст 3"/>
          <p:cNvSpPr>
            <a:spLocks noGrp="1"/>
          </p:cNvSpPr>
          <p:nvPr>
            <p:ph type="body" sz="quarter" idx="10"/>
          </p:nvPr>
        </p:nvSpPr>
        <p:spPr>
          <a:xfrm flipV="1">
            <a:off x="1847850" y="6797676"/>
            <a:ext cx="4751388" cy="60325"/>
          </a:xfrm>
        </p:spPr>
        <p:txBody>
          <a:bodyPr>
            <a:normAutofit fontScale="25000" lnSpcReduction="20000"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4936878"/>
              </p:ext>
            </p:extLst>
          </p:nvPr>
        </p:nvGraphicFramePr>
        <p:xfrm>
          <a:off x="-92766" y="3891720"/>
          <a:ext cx="12284766" cy="352677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949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9492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9492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390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C00000"/>
                          </a:solidFill>
                          <a:effectLst/>
                        </a:rPr>
                        <a:t> </a:t>
                      </a:r>
                      <a:endParaRPr lang="ru-RU" sz="11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 gridSpan="2">
                  <a:txBody>
                    <a:bodyPr/>
                    <a:lstStyle/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Этап 5</a:t>
                      </a:r>
                    </a:p>
                    <a:p>
                      <a:pPr indent="4495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План лечения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9040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Разработайте план лечения в соответствии с определенным значением общей вероятности недостаточности питания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95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Высокий риск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Средний риск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Низкий риск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028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-Необходимы адекватные действия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-Следует проконсультировать ребенка у диетолога и специалистами по </a:t>
                      </a:r>
                      <a:r>
                        <a:rPr lang="ru-RU" sz="1400" dirty="0" err="1">
                          <a:solidFill>
                            <a:srgbClr val="C00000"/>
                          </a:solidFill>
                          <a:effectLst/>
                        </a:rPr>
                        <a:t>нутритивной</a:t>
                      </a: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 поддержке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-Мониторинг осуществляется в соответствии с планом лечения.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-Мониторинг потребляемой калорийности в течение 3 дней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-Повтор </a:t>
                      </a:r>
                      <a:r>
                        <a:rPr lang="ru-RU" sz="1400" dirty="0" err="1">
                          <a:solidFill>
                            <a:srgbClr val="C00000"/>
                          </a:solidFill>
                          <a:effectLst/>
                        </a:rPr>
                        <a:t>скринингового</a:t>
                      </a: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 обследования </a:t>
                      </a:r>
                      <a:r>
                        <a:rPr lang="en-US" sz="1400" dirty="0">
                          <a:solidFill>
                            <a:srgbClr val="C00000"/>
                          </a:solidFill>
                          <a:effectLst/>
                        </a:rPr>
                        <a:t>STAMP</a:t>
                      </a: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 через 3 дня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-При необходимости внесите изменения в план лечения.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-Продолжайте обычное лечение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-Повторяйте </a:t>
                      </a:r>
                      <a:r>
                        <a:rPr lang="ru-RU" sz="1400" dirty="0" err="1">
                          <a:solidFill>
                            <a:srgbClr val="C00000"/>
                          </a:solidFill>
                          <a:effectLst/>
                        </a:rPr>
                        <a:t>скрининговое</a:t>
                      </a: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 обследование </a:t>
                      </a:r>
                      <a:r>
                        <a:rPr lang="en-US" sz="1400" dirty="0">
                          <a:solidFill>
                            <a:srgbClr val="C00000"/>
                          </a:solidFill>
                          <a:effectLst/>
                        </a:rPr>
                        <a:t>STAMP </a:t>
                      </a: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еженедельно в течение пребывания ребенка в стационаре.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C00000"/>
                          </a:solidFill>
                          <a:effectLst/>
                        </a:rPr>
                        <a:t>-При необходимости внесите изменения в план лечения.</a:t>
                      </a:r>
                      <a:endParaRPr lang="ru-RU" sz="1400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3" marR="68583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1524000" y="43934"/>
            <a:ext cx="9144000" cy="369332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accent1">
                <a:gamma/>
                <a:shade val="60000"/>
                <a:invGamma/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56301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Прямоугольник 1"/>
          <p:cNvSpPr>
            <a:spLocks noChangeArrowheads="1"/>
          </p:cNvSpPr>
          <p:nvPr/>
        </p:nvSpPr>
        <p:spPr bwMode="auto">
          <a:xfrm>
            <a:off x="1703388" y="404813"/>
            <a:ext cx="8856662" cy="569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b="1">
                <a:solidFill>
                  <a:srgbClr val="C00000"/>
                </a:solidFill>
                <a:latin typeface="Garamond,Bold"/>
              </a:rPr>
              <a:t>Основные принципы ведения больных с недостаточностью питания: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000" b="1">
                <a:solidFill>
                  <a:srgbClr val="002060"/>
                </a:solidFill>
                <a:latin typeface="Garamond,Bold"/>
              </a:rPr>
              <a:t>Устранение факторов, приводящих к нарушению нутритивного статуса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100">
                <a:solidFill>
                  <a:srgbClr val="002060"/>
                </a:solidFill>
                <a:latin typeface="Arial" panose="020B0604020202020204" pitchFamily="34" charset="0"/>
              </a:rPr>
              <a:t> </a:t>
            </a:r>
            <a:r>
              <a:rPr lang="ru-RU" altLang="ru-RU" sz="2000" b="1">
                <a:solidFill>
                  <a:srgbClr val="002060"/>
                </a:solidFill>
                <a:latin typeface="Arial,Bold"/>
              </a:rPr>
              <a:t>своевременное назначение адекватного питания (</a:t>
            </a:r>
            <a:r>
              <a:rPr lang="ru-RU" altLang="ru-RU" sz="1600" b="1">
                <a:solidFill>
                  <a:srgbClr val="002060"/>
                </a:solidFill>
                <a:latin typeface="Arial,Bold"/>
              </a:rPr>
              <a:t>диетотерапия с учетом возраста, остроты, тяжести и характера основного заболевания)</a:t>
            </a:r>
            <a:r>
              <a:rPr lang="ru-RU" altLang="ru-RU" sz="2000" b="1">
                <a:solidFill>
                  <a:srgbClr val="002060"/>
                </a:solidFill>
                <a:latin typeface="Arial,Bold"/>
              </a:rPr>
              <a:t>)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2060"/>
                </a:solidFill>
                <a:latin typeface="Arial" panose="020B0604020202020204" pitchFamily="34" charset="0"/>
              </a:rPr>
              <a:t> </a:t>
            </a:r>
            <a:r>
              <a:rPr lang="ru-RU" altLang="ru-RU" sz="1800" b="1">
                <a:solidFill>
                  <a:srgbClr val="002060"/>
                </a:solidFill>
                <a:latin typeface="Arial,Bold"/>
              </a:rPr>
              <a:t>Обеспечить возрастные потребности в энергии, макро и микроэлементах путем постепенного увеличения пищевой нагрузки </a:t>
            </a:r>
            <a:r>
              <a:rPr lang="ru-RU" altLang="ru-RU" sz="2000">
                <a:solidFill>
                  <a:srgbClr val="002060"/>
                </a:solidFill>
                <a:latin typeface="Arial" panose="020B0604020202020204" pitchFamily="34" charset="0"/>
              </a:rPr>
              <a:t>– </a:t>
            </a:r>
            <a:r>
              <a:rPr lang="ru-RU" altLang="ru-RU" sz="2000" i="1">
                <a:solidFill>
                  <a:srgbClr val="002060"/>
                </a:solidFill>
                <a:latin typeface="Arial,Italic"/>
              </a:rPr>
              <a:t>введение пищевых веществ должно быть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000" i="1">
                <a:solidFill>
                  <a:srgbClr val="002060"/>
                </a:solidFill>
                <a:latin typeface="Arial,Italic"/>
              </a:rPr>
              <a:t>ориентировано не только на потребность </a:t>
            </a:r>
            <a:r>
              <a:rPr lang="ru-RU" altLang="ru-RU" sz="2000">
                <a:solidFill>
                  <a:srgbClr val="002060"/>
                </a:solidFill>
                <a:latin typeface="Arial" panose="020B0604020202020204" pitchFamily="34" charset="0"/>
              </a:rPr>
              <a:t>ребенка </a:t>
            </a:r>
            <a:r>
              <a:rPr lang="ru-RU" altLang="ru-RU" sz="2000" i="1">
                <a:solidFill>
                  <a:srgbClr val="002060"/>
                </a:solidFill>
                <a:latin typeface="Arial,Italic"/>
              </a:rPr>
              <a:t>в том или ином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000" i="1">
                <a:solidFill>
                  <a:srgbClr val="002060"/>
                </a:solidFill>
                <a:latin typeface="Arial,Italic"/>
              </a:rPr>
              <a:t>возрасте, но и на возможность их усвоения;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2060"/>
                </a:solidFill>
                <a:latin typeface="Arial" panose="020B0604020202020204" pitchFamily="34" charset="0"/>
              </a:rPr>
              <a:t> </a:t>
            </a:r>
            <a:r>
              <a:rPr lang="ru-RU" altLang="ru-RU" sz="2000" b="1">
                <a:solidFill>
                  <a:srgbClr val="002060"/>
                </a:solidFill>
                <a:latin typeface="Arial,Bold"/>
              </a:rPr>
              <a:t>оптимальные сроки проведения </a:t>
            </a:r>
            <a:r>
              <a:rPr lang="ru-RU" altLang="ru-RU" sz="2000">
                <a:solidFill>
                  <a:srgbClr val="002060"/>
                </a:solidFill>
                <a:latin typeface="Arial" panose="020B0604020202020204" pitchFamily="34" charset="0"/>
              </a:rPr>
              <a:t>– </a:t>
            </a:r>
            <a:r>
              <a:rPr lang="ru-RU" altLang="ru-RU" sz="2000" i="1">
                <a:solidFill>
                  <a:srgbClr val="002060"/>
                </a:solidFill>
                <a:latin typeface="Arial,Italic"/>
              </a:rPr>
              <a:t>для нормализации нутритивного статуса и адекватного питания естественным путем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2060"/>
                </a:solidFill>
                <a:latin typeface="Arial" panose="020B0604020202020204" pitchFamily="34" charset="0"/>
              </a:rPr>
              <a:t> Стимуляция защитных сил организма или заместительная иммунотерапия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2000">
                <a:solidFill>
                  <a:srgbClr val="002060"/>
                </a:solidFill>
                <a:latin typeface="Arial" panose="020B0604020202020204" pitchFamily="34" charset="0"/>
              </a:rPr>
              <a:t>Лечение сопутствующих заболеваний и осложнений</a:t>
            </a:r>
          </a:p>
        </p:txBody>
      </p:sp>
    </p:spTree>
    <p:extLst>
      <p:ext uri="{BB962C8B-B14F-4D97-AF65-F5344CB8AC3E}">
        <p14:creationId xmlns:p14="http://schemas.microsoft.com/office/powerpoint/2010/main" val="21139641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695210" y="168089"/>
            <a:ext cx="94917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cap="all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ОСНОВНЫЕ ПРИНЦИПЫ ПРОВЕДЕНИЯ НУТРИТИВНОЙ ПОДДЕРЖКИ </a:t>
            </a:r>
          </a:p>
        </p:txBody>
      </p:sp>
      <p:sp>
        <p:nvSpPr>
          <p:cNvPr id="10" name="Прямоугольник 8"/>
          <p:cNvSpPr/>
          <p:nvPr/>
        </p:nvSpPr>
        <p:spPr>
          <a:xfrm>
            <a:off x="737780" y="2083576"/>
            <a:ext cx="10677472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002060"/>
                </a:solidFill>
              </a:rPr>
              <a:t>Своевременность</a:t>
            </a:r>
            <a:br>
              <a:rPr lang="ru-RU" sz="2400" dirty="0">
                <a:solidFill>
                  <a:srgbClr val="002060"/>
                </a:solidFill>
              </a:rPr>
            </a:br>
            <a:endParaRPr lang="ru-RU" sz="2400" dirty="0">
              <a:solidFill>
                <a:srgbClr val="00206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002060"/>
                </a:solidFill>
              </a:rPr>
              <a:t>Оптимальная длительность – до стабилизации параметров нутритивного статуса</a:t>
            </a:r>
            <a:br>
              <a:rPr lang="ru-RU" sz="2400" dirty="0">
                <a:solidFill>
                  <a:srgbClr val="002060"/>
                </a:solidFill>
              </a:rPr>
            </a:br>
            <a:endParaRPr lang="ru-RU" sz="2400" dirty="0">
              <a:solidFill>
                <a:srgbClr val="002060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002060"/>
                </a:solidFill>
              </a:rPr>
              <a:t>Адекватность проведения, включая выбор вида (энтеральное питание - ЭП, парентеральное питание - ПП, смешанное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37780" y="5232534"/>
            <a:ext cx="90189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i="1" dirty="0">
                <a:solidFill>
                  <a:srgbClr val="0070C0"/>
                </a:solidFill>
              </a:rPr>
              <a:t>Нутритивная поддержка должна проводиться по показаниям! </a:t>
            </a:r>
          </a:p>
        </p:txBody>
      </p:sp>
    </p:spTree>
    <p:extLst>
      <p:ext uri="{BB962C8B-B14F-4D97-AF65-F5344CB8AC3E}">
        <p14:creationId xmlns:p14="http://schemas.microsoft.com/office/powerpoint/2010/main" val="24852797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927652"/>
            <a:ext cx="12192000" cy="26776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ru-RU" sz="2400" b="1" dirty="0"/>
              <a:t>Цель  исследования:  </a:t>
            </a:r>
            <a:r>
              <a:rPr lang="ru-RU" sz="2400" u="sng" dirty="0"/>
              <a:t>Выявить  различия в характеристиках детей </a:t>
            </a:r>
            <a:r>
              <a:rPr lang="ru-RU" sz="2400" dirty="0"/>
              <a:t>с рецидивирующей респираторной патологией в зависимости от их нутритивного статуса, а также </a:t>
            </a:r>
            <a:r>
              <a:rPr lang="ru-RU" sz="2400" u="sng" dirty="0"/>
              <a:t>оценить влияние дополнительной нутритивной поддержки</a:t>
            </a:r>
            <a:r>
              <a:rPr lang="ru-RU" sz="2400" dirty="0"/>
              <a:t> в комбинации с комплексными оздоровительными мероприятиями на антропометрические характеристики, качество жизни, частоту и длительность острых респираторных инфекций у детей с дефицитом питания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" y="3672513"/>
            <a:ext cx="12192000" cy="10156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2000" b="1" dirty="0">
                <a:latin typeface="+mj-lt"/>
              </a:rPr>
              <a:t>Место проведения:  </a:t>
            </a:r>
          </a:p>
          <a:p>
            <a:r>
              <a:rPr lang="ru-RU" sz="2000" dirty="0">
                <a:latin typeface="+mj-lt"/>
              </a:rPr>
              <a:t>Исследование выполнено на базе Государственного автономного учреждения здравоохранения Республики Башкортостан детский санаторий «</a:t>
            </a:r>
            <a:r>
              <a:rPr lang="ru-RU" sz="2000" dirty="0" err="1">
                <a:latin typeface="+mj-lt"/>
              </a:rPr>
              <a:t>Дуслык</a:t>
            </a:r>
            <a:r>
              <a:rPr lang="ru-RU" sz="2000" dirty="0">
                <a:latin typeface="+mj-lt"/>
              </a:rPr>
              <a:t>» г. Уфы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" y="4688176"/>
            <a:ext cx="12192000" cy="224676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2000" b="1" dirty="0"/>
              <a:t>Продолжительность наблюдения:</a:t>
            </a:r>
          </a:p>
          <a:p>
            <a:r>
              <a:rPr lang="ru-RU" sz="2000" dirty="0"/>
              <a:t>Курс реабилитации детей в санатории продолжался 21 день. </a:t>
            </a:r>
            <a:br>
              <a:rPr lang="ru-RU" sz="2000" dirty="0"/>
            </a:br>
            <a:r>
              <a:rPr lang="ru-RU" sz="2000" dirty="0"/>
              <a:t>Продолжительность периода наблюдения составила 12 месяцев с оценкой качества жизни и антропометрических данных в динамике. </a:t>
            </a:r>
          </a:p>
          <a:p>
            <a:r>
              <a:rPr lang="ru-RU" sz="2000" dirty="0"/>
              <a:t>Анкетирование родителей проведено с помощью русской версии опросника оценки качества жизни </a:t>
            </a:r>
            <a:r>
              <a:rPr lang="ru-RU" sz="2000" dirty="0" err="1"/>
              <a:t>Pediatric</a:t>
            </a:r>
            <a:r>
              <a:rPr lang="ru-RU" sz="2000" dirty="0"/>
              <a:t> </a:t>
            </a:r>
            <a:r>
              <a:rPr lang="ru-RU" sz="2000" dirty="0" err="1"/>
              <a:t>Quality</a:t>
            </a:r>
            <a:r>
              <a:rPr lang="ru-RU" sz="2000" dirty="0"/>
              <a:t> </a:t>
            </a:r>
            <a:r>
              <a:rPr lang="ru-RU" sz="2000" dirty="0" err="1"/>
              <a:t>of</a:t>
            </a:r>
            <a:r>
              <a:rPr lang="ru-RU" sz="2000" dirty="0"/>
              <a:t> </a:t>
            </a:r>
            <a:r>
              <a:rPr lang="ru-RU" sz="2000" dirty="0" err="1"/>
              <a:t>Life</a:t>
            </a:r>
            <a:r>
              <a:rPr lang="ru-RU" sz="2000" dirty="0"/>
              <a:t> </a:t>
            </a:r>
            <a:r>
              <a:rPr lang="ru-RU" sz="2000" dirty="0" err="1"/>
              <a:t>Questionnaire</a:t>
            </a:r>
            <a:r>
              <a:rPr lang="ru-RU" sz="2000" dirty="0"/>
              <a:t> (</a:t>
            </a:r>
            <a:r>
              <a:rPr lang="ru-RU" sz="2000" dirty="0" err="1"/>
              <a:t>Generic</a:t>
            </a:r>
            <a:r>
              <a:rPr lang="ru-RU" sz="2000" dirty="0"/>
              <a:t> </a:t>
            </a:r>
            <a:r>
              <a:rPr lang="ru-RU" sz="2000" dirty="0" err="1"/>
              <a:t>Core</a:t>
            </a:r>
            <a:r>
              <a:rPr lang="ru-RU" sz="2000" dirty="0"/>
              <a:t> </a:t>
            </a:r>
            <a:r>
              <a:rPr lang="ru-RU" sz="2000" dirty="0" err="1"/>
              <a:t>Scales</a:t>
            </a:r>
            <a:r>
              <a:rPr lang="ru-RU" sz="2000" dirty="0"/>
              <a:t>) [8,9] до и после реабилитации через 12 месяцев</a:t>
            </a:r>
            <a:r>
              <a:rPr lang="ru-RU" sz="1600" dirty="0"/>
              <a:t>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577633" y="211283"/>
            <a:ext cx="11278225" cy="98713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rgbClr val="C00000"/>
                </a:solidFill>
              </a:rPr>
              <a:t>КЛИНИЧЕСКОЕ исследование</a:t>
            </a:r>
          </a:p>
        </p:txBody>
      </p:sp>
    </p:spTree>
    <p:extLst>
      <p:ext uri="{BB962C8B-B14F-4D97-AF65-F5344CB8AC3E}">
        <p14:creationId xmlns:p14="http://schemas.microsoft.com/office/powerpoint/2010/main" val="40434399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DBFFFD4B-2479-4976-ACBD-276D9197C460}"/>
              </a:ext>
            </a:extLst>
          </p:cNvPr>
          <p:cNvSpPr txBox="1"/>
          <p:nvPr/>
        </p:nvSpPr>
        <p:spPr>
          <a:xfrm>
            <a:off x="3392555" y="3866252"/>
            <a:ext cx="7414597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ru-RU" dirty="0"/>
              <a:t>Наблюдение </a:t>
            </a:r>
            <a:endParaRPr lang="en-US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67DE9D6E-04B1-4ECD-8EEC-726B7881036B}"/>
              </a:ext>
            </a:extLst>
          </p:cNvPr>
          <p:cNvSpPr txBox="1"/>
          <p:nvPr/>
        </p:nvSpPr>
        <p:spPr>
          <a:xfrm>
            <a:off x="3392556" y="1996971"/>
            <a:ext cx="7414596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ru-RU" dirty="0"/>
              <a:t>Наблюдение </a:t>
            </a:r>
            <a:endParaRPr lang="en-US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F2F272E4-231C-42F0-ABD0-C0CDAF1A7D78}"/>
              </a:ext>
            </a:extLst>
          </p:cNvPr>
          <p:cNvSpPr txBox="1"/>
          <p:nvPr/>
        </p:nvSpPr>
        <p:spPr>
          <a:xfrm>
            <a:off x="3392555" y="1436347"/>
            <a:ext cx="3929270" cy="923330"/>
          </a:xfrm>
          <a:prstGeom prst="rect">
            <a:avLst/>
          </a:prstGeom>
          <a:solidFill>
            <a:srgbClr val="CC3399"/>
          </a:solidFill>
        </p:spPr>
        <p:txBody>
          <a:bodyPr wrap="square" rtlCol="0">
            <a:spAutoFit/>
          </a:bodyPr>
          <a:lstStyle/>
          <a:p>
            <a:pPr algn="r"/>
            <a:r>
              <a:rPr lang="ru-RU" dirty="0" err="1">
                <a:solidFill>
                  <a:schemeClr val="bg1"/>
                </a:solidFill>
              </a:rPr>
              <a:t>Педиашур</a:t>
            </a:r>
            <a:r>
              <a:rPr lang="ru-RU" dirty="0">
                <a:solidFill>
                  <a:schemeClr val="bg1"/>
                </a:solidFill>
              </a:rPr>
              <a:t> с </a:t>
            </a:r>
          </a:p>
          <a:p>
            <a:pPr algn="r"/>
            <a:r>
              <a:rPr lang="ru-RU" dirty="0">
                <a:solidFill>
                  <a:schemeClr val="bg1"/>
                </a:solidFill>
              </a:rPr>
              <a:t>пищевыми </a:t>
            </a:r>
          </a:p>
          <a:p>
            <a:pPr algn="r"/>
            <a:r>
              <a:rPr lang="ru-RU" dirty="0">
                <a:solidFill>
                  <a:schemeClr val="bg1"/>
                </a:solidFill>
              </a:rPr>
              <a:t>волокнами</a:t>
            </a:r>
            <a:endParaRPr lang="en-US" dirty="0">
              <a:solidFill>
                <a:schemeClr val="bg1"/>
              </a:solidFill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xmlns="" id="{F5FEA3BA-5269-41AA-B871-1F68AF594A4A}"/>
              </a:ext>
            </a:extLst>
          </p:cNvPr>
          <p:cNvCxnSpPr>
            <a:cxnSpLocks/>
          </p:cNvCxnSpPr>
          <p:nvPr/>
        </p:nvCxnSpPr>
        <p:spPr>
          <a:xfrm flipV="1">
            <a:off x="3392556" y="4691270"/>
            <a:ext cx="7633253" cy="132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E3795CCB-D7D3-417F-88E7-CD76AB709C59}"/>
              </a:ext>
            </a:extLst>
          </p:cNvPr>
          <p:cNvSpPr txBox="1"/>
          <p:nvPr/>
        </p:nvSpPr>
        <p:spPr>
          <a:xfrm>
            <a:off x="344557" y="1113182"/>
            <a:ext cx="2782957" cy="923330"/>
          </a:xfrm>
          <a:prstGeom prst="rect">
            <a:avLst/>
          </a:prstGeom>
          <a:solidFill>
            <a:srgbClr val="F9F9F9"/>
          </a:solidFill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/>
              <a:t>Первая группа – ЧБД с дефицитом питания</a:t>
            </a:r>
          </a:p>
          <a:p>
            <a:r>
              <a:rPr lang="en-US" dirty="0"/>
              <a:t>n=7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DFD38D0-69C5-495C-B619-C674C9403E7E}"/>
              </a:ext>
            </a:extLst>
          </p:cNvPr>
          <p:cNvSpPr txBox="1"/>
          <p:nvPr/>
        </p:nvSpPr>
        <p:spPr>
          <a:xfrm>
            <a:off x="344557" y="3332921"/>
            <a:ext cx="2782957" cy="1200329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/>
              <a:t>Вторая группа– ЧБД с нормальным </a:t>
            </a:r>
            <a:r>
              <a:rPr lang="ru-RU" dirty="0" err="1"/>
              <a:t>нутритивным</a:t>
            </a:r>
            <a:r>
              <a:rPr lang="ru-RU" dirty="0"/>
              <a:t> статусом</a:t>
            </a:r>
            <a:endParaRPr lang="en-US" dirty="0"/>
          </a:p>
          <a:p>
            <a:r>
              <a:rPr lang="en-US" dirty="0"/>
              <a:t>n=26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FF2B3181-3A71-4009-9460-FE237B200DF2}"/>
              </a:ext>
            </a:extLst>
          </p:cNvPr>
          <p:cNvCxnSpPr>
            <a:cxnSpLocks/>
          </p:cNvCxnSpPr>
          <p:nvPr/>
        </p:nvCxnSpPr>
        <p:spPr>
          <a:xfrm flipV="1">
            <a:off x="4770783" y="4525619"/>
            <a:ext cx="0" cy="357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20E3CE82-8720-4180-93D2-5E0BA909328B}"/>
              </a:ext>
            </a:extLst>
          </p:cNvPr>
          <p:cNvCxnSpPr>
            <a:cxnSpLocks/>
          </p:cNvCxnSpPr>
          <p:nvPr/>
        </p:nvCxnSpPr>
        <p:spPr>
          <a:xfrm flipV="1">
            <a:off x="7321825" y="4525619"/>
            <a:ext cx="0" cy="357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7687FF86-F092-4F4B-AB50-54BB0DA04C6E}"/>
              </a:ext>
            </a:extLst>
          </p:cNvPr>
          <p:cNvCxnSpPr>
            <a:cxnSpLocks/>
          </p:cNvCxnSpPr>
          <p:nvPr/>
        </p:nvCxnSpPr>
        <p:spPr>
          <a:xfrm flipV="1">
            <a:off x="10722523" y="4512365"/>
            <a:ext cx="0" cy="357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45AC23C9-3F64-488E-8A68-1EBD64A289C5}"/>
              </a:ext>
            </a:extLst>
          </p:cNvPr>
          <p:cNvSpPr txBox="1"/>
          <p:nvPr/>
        </p:nvSpPr>
        <p:spPr>
          <a:xfrm>
            <a:off x="3697357" y="4934707"/>
            <a:ext cx="1431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3 недели</a:t>
            </a:r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3D3E04E-9EFA-431C-9A39-58C789BEE7A3}"/>
              </a:ext>
            </a:extLst>
          </p:cNvPr>
          <p:cNvSpPr txBox="1"/>
          <p:nvPr/>
        </p:nvSpPr>
        <p:spPr>
          <a:xfrm>
            <a:off x="6977270" y="4934707"/>
            <a:ext cx="1431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6 </a:t>
            </a:r>
            <a:r>
              <a:rPr lang="ru-RU" dirty="0"/>
              <a:t>месяцев</a:t>
            </a:r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40337B1-B3EF-49C5-A47F-0EC296F49974}"/>
              </a:ext>
            </a:extLst>
          </p:cNvPr>
          <p:cNvSpPr txBox="1"/>
          <p:nvPr/>
        </p:nvSpPr>
        <p:spPr>
          <a:xfrm>
            <a:off x="10257183" y="4934707"/>
            <a:ext cx="14312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12 месяцев</a:t>
            </a:r>
            <a:endParaRPr lang="en-US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7077BC2D-F1B0-4CE7-83B2-5B7F53B97A06}"/>
              </a:ext>
            </a:extLst>
          </p:cNvPr>
          <p:cNvSpPr txBox="1"/>
          <p:nvPr/>
        </p:nvSpPr>
        <p:spPr>
          <a:xfrm>
            <a:off x="3392556" y="1113182"/>
            <a:ext cx="1470992" cy="8617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600" dirty="0"/>
              <a:t>Санаторно-  курортное </a:t>
            </a:r>
            <a:r>
              <a:rPr lang="ru-RU" dirty="0"/>
              <a:t>лечение</a:t>
            </a:r>
            <a:endParaRPr lang="en-US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ADBA0FE2-5A65-46AF-B606-DEDEDA8EAE9C}"/>
              </a:ext>
            </a:extLst>
          </p:cNvPr>
          <p:cNvSpPr txBox="1"/>
          <p:nvPr/>
        </p:nvSpPr>
        <p:spPr>
          <a:xfrm>
            <a:off x="3392556" y="3332921"/>
            <a:ext cx="1470992" cy="8309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600" dirty="0"/>
              <a:t>Санаторно-  курортное лечение</a:t>
            </a:r>
            <a:endParaRPr lang="en-US" sz="16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EB5F8E52-4B13-40B3-82D1-4131D0218E18}"/>
              </a:ext>
            </a:extLst>
          </p:cNvPr>
          <p:cNvCxnSpPr>
            <a:cxnSpLocks/>
          </p:cNvCxnSpPr>
          <p:nvPr/>
        </p:nvCxnSpPr>
        <p:spPr>
          <a:xfrm>
            <a:off x="3392556" y="848139"/>
            <a:ext cx="0" cy="38431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144D0DBE-612E-473D-A2DD-EC78E4D91601}"/>
              </a:ext>
            </a:extLst>
          </p:cNvPr>
          <p:cNvSpPr/>
          <p:nvPr/>
        </p:nvSpPr>
        <p:spPr>
          <a:xfrm>
            <a:off x="1990855" y="5855159"/>
            <a:ext cx="2779928" cy="369332"/>
          </a:xfrm>
          <a:prstGeom prst="rect">
            <a:avLst/>
          </a:prstGeom>
          <a:ln>
            <a:solidFill>
              <a:srgbClr val="0070C0"/>
            </a:solidFill>
          </a:ln>
        </p:spPr>
        <p:txBody>
          <a:bodyPr wrap="non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Анкетирование родителей</a:t>
            </a:r>
            <a:endParaRPr lang="en-US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xmlns="" id="{CC78DE9A-7609-440D-9A57-0D0DD2ED5697}"/>
              </a:ext>
            </a:extLst>
          </p:cNvPr>
          <p:cNvCxnSpPr>
            <a:cxnSpLocks/>
            <a:stCxn id="3" idx="0"/>
          </p:cNvCxnSpPr>
          <p:nvPr/>
        </p:nvCxnSpPr>
        <p:spPr>
          <a:xfrm flipV="1">
            <a:off x="3380819" y="4883428"/>
            <a:ext cx="11735" cy="971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91C4B6C5-2B63-48A8-951B-F0E1BF924061}"/>
              </a:ext>
            </a:extLst>
          </p:cNvPr>
          <p:cNvSpPr/>
          <p:nvPr/>
        </p:nvSpPr>
        <p:spPr>
          <a:xfrm>
            <a:off x="9319307" y="5855159"/>
            <a:ext cx="2779928" cy="369332"/>
          </a:xfrm>
          <a:prstGeom prst="rect">
            <a:avLst/>
          </a:prstGeom>
          <a:solidFill>
            <a:srgbClr val="D4D4D4"/>
          </a:solidFill>
          <a:ln>
            <a:solidFill>
              <a:srgbClr val="0070C0"/>
            </a:solidFill>
          </a:ln>
        </p:spPr>
        <p:txBody>
          <a:bodyPr wrap="non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ea typeface="Times New Roman" panose="02020603050405020304" pitchFamily="18" charset="0"/>
              </a:rPr>
              <a:t>Анкетирование родителей</a:t>
            </a:r>
            <a:endParaRPr lang="en-US" dirty="0"/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xmlns="" id="{923DC123-B7CE-42B8-AC70-4BAD8F035B8E}"/>
              </a:ext>
            </a:extLst>
          </p:cNvPr>
          <p:cNvCxnSpPr>
            <a:cxnSpLocks/>
            <a:stCxn id="30" idx="0"/>
          </p:cNvCxnSpPr>
          <p:nvPr/>
        </p:nvCxnSpPr>
        <p:spPr>
          <a:xfrm flipV="1">
            <a:off x="10709271" y="4883428"/>
            <a:ext cx="11735" cy="971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xmlns="" id="{C2381409-D424-4D48-B73F-04016B8B5A46}"/>
              </a:ext>
            </a:extLst>
          </p:cNvPr>
          <p:cNvSpPr txBox="1">
            <a:spLocks/>
          </p:cNvSpPr>
          <p:nvPr/>
        </p:nvSpPr>
        <p:spPr>
          <a:xfrm>
            <a:off x="577634" y="181495"/>
            <a:ext cx="11110784" cy="562356"/>
          </a:xfrm>
          <a:prstGeom prst="rect">
            <a:avLst/>
          </a:prstGeom>
          <a:solidFill>
            <a:srgbClr val="F6F6F6"/>
          </a:solidFill>
        </p:spPr>
        <p:txBody>
          <a:bodyPr>
            <a:normAutofit fontScale="850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rgbClr val="C00000"/>
                </a:solidFill>
              </a:rPr>
              <a:t>Схематичное изображение дизайна исследования</a:t>
            </a:r>
          </a:p>
        </p:txBody>
      </p:sp>
    </p:spTree>
    <p:extLst>
      <p:ext uri="{BB962C8B-B14F-4D97-AF65-F5344CB8AC3E}">
        <p14:creationId xmlns:p14="http://schemas.microsoft.com/office/powerpoint/2010/main" val="74035236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444897" y="615093"/>
            <a:ext cx="11278225" cy="98713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 cap="all" baseline="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rgbClr val="C00000"/>
                </a:solidFill>
              </a:rPr>
              <a:t>ПЕДИАШУР С ПИЩЕВЫМИ ВОЛОКНАМИ -  </a:t>
            </a:r>
            <a:br>
              <a:rPr lang="ru-RU" sz="3200" b="1" dirty="0">
                <a:solidFill>
                  <a:srgbClr val="C00000"/>
                </a:solidFill>
              </a:rPr>
            </a:br>
            <a:r>
              <a:rPr lang="ru-RU" sz="3200" b="1" cap="none" dirty="0">
                <a:solidFill>
                  <a:srgbClr val="C00000"/>
                </a:solidFill>
              </a:rPr>
              <a:t>новое название </a:t>
            </a:r>
            <a:r>
              <a:rPr lang="ru-RU" sz="3200" b="1" dirty="0">
                <a:solidFill>
                  <a:srgbClr val="C00000"/>
                </a:solidFill>
              </a:rPr>
              <a:t>ПЕДИАШУР ЗДОРОВЕЙКА</a:t>
            </a:r>
          </a:p>
        </p:txBody>
      </p:sp>
      <p:pic>
        <p:nvPicPr>
          <p:cNvPr id="5" name="Рисунок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1328" y="2207151"/>
            <a:ext cx="1326998" cy="2740225"/>
          </a:xfrm>
          <a:prstGeom prst="round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867" y="2314049"/>
            <a:ext cx="1137976" cy="2596226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7" name="Arrow: Right 6"/>
          <p:cNvSpPr/>
          <p:nvPr/>
        </p:nvSpPr>
        <p:spPr>
          <a:xfrm>
            <a:off x="2128844" y="3350380"/>
            <a:ext cx="391582" cy="638355"/>
          </a:xfrm>
          <a:prstGeom prst="rightArrow">
            <a:avLst/>
          </a:prstGeom>
          <a:solidFill>
            <a:srgbClr val="01BCFF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Content Placeholder 7"/>
          <p:cNvSpPr txBox="1">
            <a:spLocks/>
          </p:cNvSpPr>
          <p:nvPr/>
        </p:nvSpPr>
        <p:spPr>
          <a:xfrm>
            <a:off x="5777986" y="2003256"/>
            <a:ext cx="6077872" cy="314801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 cap="all" baseline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ru-RU" sz="2400" b="1" u="sng" dirty="0">
                <a:solidFill>
                  <a:prstClr val="black"/>
                </a:solidFill>
                <a:sym typeface="Symbol"/>
              </a:rPr>
              <a:t>Состав (в 200 мл):</a:t>
            </a:r>
          </a:p>
          <a:p>
            <a:pPr marL="342900" indent="-342900">
              <a:spcBef>
                <a:spcPts val="600"/>
              </a:spcBef>
              <a:defRPr/>
            </a:pPr>
            <a:r>
              <a:rPr lang="ru-RU" sz="2400" dirty="0">
                <a:solidFill>
                  <a:prstClr val="black"/>
                </a:solidFill>
                <a:sym typeface="Symbol"/>
              </a:rPr>
              <a:t>Энергетическая ценность 300 ккал</a:t>
            </a:r>
          </a:p>
          <a:p>
            <a:pPr marL="342900" indent="-342900">
              <a:spcBef>
                <a:spcPts val="600"/>
              </a:spcBef>
              <a:defRPr/>
            </a:pPr>
            <a:r>
              <a:rPr lang="ru-RU" sz="2400" dirty="0">
                <a:solidFill>
                  <a:prstClr val="black"/>
                </a:solidFill>
                <a:sym typeface="Symbol"/>
              </a:rPr>
              <a:t>Белок 8,4 г </a:t>
            </a:r>
          </a:p>
          <a:p>
            <a:pPr marL="342900" indent="-342900">
              <a:spcBef>
                <a:spcPts val="600"/>
              </a:spcBef>
              <a:defRPr/>
            </a:pPr>
            <a:r>
              <a:rPr lang="ru-RU" sz="2400" dirty="0">
                <a:solidFill>
                  <a:prstClr val="black"/>
                </a:solidFill>
                <a:sym typeface="Symbol"/>
              </a:rPr>
              <a:t>Пребиотики ФОС + овсяные волокна</a:t>
            </a:r>
          </a:p>
          <a:p>
            <a:pPr marL="342900" indent="-342900">
              <a:spcBef>
                <a:spcPts val="600"/>
              </a:spcBef>
              <a:defRPr/>
            </a:pPr>
            <a:r>
              <a:rPr lang="ru-RU" sz="2400" dirty="0">
                <a:solidFill>
                  <a:prstClr val="black"/>
                </a:solidFill>
                <a:sym typeface="Symbol"/>
              </a:rPr>
              <a:t>30 Витаминов и минералов</a:t>
            </a:r>
          </a:p>
          <a:p>
            <a:pPr marL="342900" indent="-342900">
              <a:spcBef>
                <a:spcPts val="600"/>
              </a:spcBef>
              <a:defRPr/>
            </a:pPr>
            <a:r>
              <a:rPr lang="ru-RU" sz="2400" dirty="0">
                <a:solidFill>
                  <a:prstClr val="black"/>
                </a:solidFill>
              </a:rPr>
              <a:t>Содержит масло с СЦТ</a:t>
            </a:r>
          </a:p>
          <a:p>
            <a:pPr>
              <a:spcBef>
                <a:spcPts val="600"/>
              </a:spcBef>
              <a:defRPr/>
            </a:pPr>
            <a:endParaRPr lang="ru-RU" sz="2400" dirty="0"/>
          </a:p>
        </p:txBody>
      </p:sp>
      <p:sp>
        <p:nvSpPr>
          <p:cNvPr id="9" name="TextBox 1"/>
          <p:cNvSpPr txBox="1">
            <a:spLocks noChangeArrowheads="1"/>
          </p:cNvSpPr>
          <p:nvPr/>
        </p:nvSpPr>
        <p:spPr bwMode="auto">
          <a:xfrm>
            <a:off x="1449029" y="5201182"/>
            <a:ext cx="2846388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600" b="1" dirty="0">
                <a:solidFill>
                  <a:srgbClr val="7529B3"/>
                </a:solidFill>
              </a:rPr>
              <a:t>Ванильный  вкус</a:t>
            </a:r>
          </a:p>
        </p:txBody>
      </p:sp>
    </p:spTree>
    <p:extLst>
      <p:ext uri="{BB962C8B-B14F-4D97-AF65-F5344CB8AC3E}">
        <p14:creationId xmlns:p14="http://schemas.microsoft.com/office/powerpoint/2010/main" val="75480740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0474" y="326554"/>
            <a:ext cx="11694694" cy="1184112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ru-RU" sz="3200" b="1" dirty="0">
                <a:solidFill>
                  <a:srgbClr val="C00000"/>
                </a:solidFill>
              </a:rPr>
              <a:t>Программа реабилитаци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73851" y="1599084"/>
            <a:ext cx="11305309" cy="107721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2400" b="1" dirty="0"/>
              <a:t>Оздоровительные мероприятия: 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 err="1">
                <a:solidFill>
                  <a:srgbClr val="C00000"/>
                </a:solidFill>
              </a:rPr>
              <a:t>Кинезиотерапия</a:t>
            </a:r>
            <a:r>
              <a:rPr lang="ru-RU" sz="2000" dirty="0">
                <a:solidFill>
                  <a:srgbClr val="C00000"/>
                </a:solidFill>
              </a:rPr>
              <a:t>,</a:t>
            </a:r>
            <a:r>
              <a:rPr lang="ru-RU" sz="2000" dirty="0"/>
              <a:t> </a:t>
            </a:r>
            <a:r>
              <a:rPr lang="ru-RU" sz="2000" dirty="0" err="1">
                <a:solidFill>
                  <a:srgbClr val="C00000"/>
                </a:solidFill>
              </a:rPr>
              <a:t>гипокситерапия</a:t>
            </a:r>
            <a:r>
              <a:rPr lang="ru-RU" sz="2000" dirty="0"/>
              <a:t>, </a:t>
            </a:r>
            <a:r>
              <a:rPr lang="ru-RU" sz="2000" dirty="0">
                <a:solidFill>
                  <a:srgbClr val="C00000"/>
                </a:solidFill>
              </a:rPr>
              <a:t>массаж стоп, кистей рук, спины и области малого таза </a:t>
            </a:r>
            <a:r>
              <a:rPr lang="ru-RU" sz="2000" dirty="0"/>
              <a:t>у детей проводился на объединенном комплексе с эластичным </a:t>
            </a:r>
            <a:r>
              <a:rPr lang="ru-RU" sz="2000" dirty="0" err="1"/>
              <a:t>псевдокипящим</a:t>
            </a:r>
            <a:r>
              <a:rPr lang="ru-RU" sz="2000" dirty="0"/>
              <a:t> слоем «Радуга-ЭПС»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048000" y="29673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048000" y="29673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73851" y="2878917"/>
            <a:ext cx="11305309" cy="138499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ru-RU" sz="2400" b="1" dirty="0"/>
              <a:t>Питание: 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/>
              <a:t>Все дети получали сбалансированное 6-разовое санаторное питание с включением в рацион мяса, рыбы, полноценных полиненасыщенных жирных кислот, овощей, фруктов и кисломолочных продуктов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73851" y="4352330"/>
            <a:ext cx="11305309" cy="1692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b="1" dirty="0"/>
              <a:t>Дополнительная нутритивная поддержка:</a:t>
            </a:r>
          </a:p>
          <a:p>
            <a:r>
              <a:rPr lang="ru-RU" sz="2000" dirty="0">
                <a:solidFill>
                  <a:srgbClr val="002060"/>
                </a:solidFill>
              </a:rPr>
              <a:t>Всем детям </a:t>
            </a:r>
            <a:r>
              <a:rPr lang="en-US" sz="2000" dirty="0">
                <a:solidFill>
                  <a:srgbClr val="002060"/>
                </a:solidFill>
              </a:rPr>
              <a:t>I</a:t>
            </a:r>
            <a:r>
              <a:rPr lang="ru-RU" sz="2000" dirty="0">
                <a:solidFill>
                  <a:srgbClr val="002060"/>
                </a:solidFill>
              </a:rPr>
              <a:t> группы, имеющим признаки недостаточности питания, в дополнение к санаторному питанию была проведена коррекция нарушений нутритивного статуса с помощью специализированного продукта </a:t>
            </a:r>
            <a:r>
              <a:rPr lang="ru-RU" sz="2000" b="1" dirty="0">
                <a:solidFill>
                  <a:srgbClr val="002060"/>
                </a:solidFill>
              </a:rPr>
              <a:t>«Педиашур с пищевыми волокнами» </a:t>
            </a:r>
            <a:r>
              <a:rPr lang="ru-RU" sz="2000" dirty="0">
                <a:solidFill>
                  <a:srgbClr val="002060"/>
                </a:solidFill>
              </a:rPr>
              <a:t>(</a:t>
            </a:r>
            <a:r>
              <a:rPr lang="ru-RU" sz="2000" dirty="0" err="1">
                <a:solidFill>
                  <a:srgbClr val="002060"/>
                </a:solidFill>
              </a:rPr>
              <a:t>Abbott</a:t>
            </a:r>
            <a:r>
              <a:rPr lang="ru-RU" sz="2000" dirty="0">
                <a:solidFill>
                  <a:srgbClr val="002060"/>
                </a:solidFill>
              </a:rPr>
              <a:t> </a:t>
            </a:r>
            <a:r>
              <a:rPr lang="ru-RU" sz="2000" dirty="0" err="1">
                <a:solidFill>
                  <a:srgbClr val="002060"/>
                </a:solidFill>
              </a:rPr>
              <a:t>Nutrition</a:t>
            </a:r>
            <a:r>
              <a:rPr lang="ru-RU" sz="2000" dirty="0">
                <a:solidFill>
                  <a:srgbClr val="002060"/>
                </a:solidFill>
              </a:rPr>
              <a:t>, Нидерланды)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dirty="0">
                <a:solidFill>
                  <a:srgbClr val="002060"/>
                </a:solidFill>
              </a:rPr>
              <a:t>в объеме 200 мл </a:t>
            </a:r>
            <a:r>
              <a:rPr lang="ru-RU" sz="2000" u="sng" dirty="0">
                <a:solidFill>
                  <a:srgbClr val="002060"/>
                </a:solidFill>
              </a:rPr>
              <a:t>ежедневно</a:t>
            </a:r>
            <a:r>
              <a:rPr lang="ru-RU" sz="2000" dirty="0">
                <a:solidFill>
                  <a:srgbClr val="002060"/>
                </a:solidFill>
              </a:rPr>
              <a:t> на полдник в течение </a:t>
            </a:r>
            <a:r>
              <a:rPr lang="ru-RU" sz="2000" b="1" dirty="0">
                <a:solidFill>
                  <a:srgbClr val="002060"/>
                </a:solidFill>
              </a:rPr>
              <a:t>21</a:t>
            </a:r>
            <a:r>
              <a:rPr lang="ru-RU" sz="2000" dirty="0">
                <a:solidFill>
                  <a:srgbClr val="002060"/>
                </a:solidFill>
              </a:rPr>
              <a:t> дня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391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2954" y="2296391"/>
            <a:ext cx="11480750" cy="4052452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Группа диспансерного наблюдения, включающая детей с частыми респираторными заболеваниями, возникающими из-за </a:t>
            </a:r>
            <a:r>
              <a:rPr lang="ru-RU" sz="3200" b="1" dirty="0">
                <a:solidFill>
                  <a:srgbClr val="0070C0"/>
                </a:solidFill>
              </a:rPr>
              <a:t>транзиторных корригируемых</a:t>
            </a:r>
            <a:r>
              <a:rPr lang="ru-RU" sz="32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3200" dirty="0">
                <a:solidFill>
                  <a:schemeClr val="accent1">
                    <a:lumMod val="50000"/>
                  </a:schemeClr>
                </a:solidFill>
              </a:rPr>
              <a:t>отклонений в защитных системах организма, </a:t>
            </a:r>
            <a:br>
              <a:rPr lang="ru-RU" sz="3200" dirty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3200" b="1" i="1" dirty="0">
                <a:solidFill>
                  <a:schemeClr val="accent1">
                    <a:lumMod val="50000"/>
                  </a:schemeClr>
                </a:solidFill>
              </a:rPr>
              <a:t>не имеющих стойких органических отклонений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209800" y="746840"/>
            <a:ext cx="7938655" cy="70788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3200" b="1" cap="all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Часто</a:t>
            </a:r>
            <a:r>
              <a:rPr lang="ru-RU" sz="4000" dirty="0">
                <a:solidFill>
                  <a:srgbClr val="C00000"/>
                </a:solidFill>
              </a:rPr>
              <a:t> </a:t>
            </a:r>
            <a:r>
              <a:rPr lang="ru-RU" sz="3200" b="1" cap="all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болеющие дети: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3217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0" y="0"/>
            <a:ext cx="12524874" cy="71096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442913"/>
            <a:r>
              <a:rPr lang="ru-RU" sz="3200" b="1" dirty="0">
                <a:solidFill>
                  <a:srgbClr val="002060"/>
                </a:solidFill>
                <a:latin typeface="+mj-lt"/>
              </a:rPr>
              <a:t/>
            </a:r>
            <a:br>
              <a:rPr lang="ru-RU" sz="3200" b="1" dirty="0">
                <a:solidFill>
                  <a:srgbClr val="002060"/>
                </a:solidFill>
                <a:latin typeface="+mj-lt"/>
              </a:rPr>
            </a:br>
            <a:r>
              <a:rPr lang="ru-RU" sz="3200" b="1" dirty="0">
                <a:solidFill>
                  <a:srgbClr val="002060"/>
                </a:solidFill>
                <a:latin typeface="+mj-lt"/>
              </a:rPr>
              <a:t>Показания</a:t>
            </a:r>
            <a:r>
              <a:rPr lang="ru-RU" sz="3200" dirty="0">
                <a:solidFill>
                  <a:srgbClr val="002060"/>
                </a:solidFill>
                <a:latin typeface="+mj-lt"/>
              </a:rPr>
              <a:t> для назначения нутритивной поддержки: </a:t>
            </a:r>
            <a:br>
              <a:rPr lang="ru-RU" sz="3200" dirty="0">
                <a:solidFill>
                  <a:srgbClr val="002060"/>
                </a:solidFill>
                <a:latin typeface="+mj-lt"/>
              </a:rPr>
            </a:br>
            <a:endParaRPr lang="ru-RU" sz="3200" dirty="0">
              <a:solidFill>
                <a:srgbClr val="002060"/>
              </a:solidFill>
              <a:latin typeface="+mj-lt"/>
            </a:endParaRPr>
          </a:p>
          <a:p>
            <a:pPr marL="900113" indent="-457200">
              <a:buFont typeface="Wingdings" panose="05000000000000000000" pitchFamily="2" charset="2"/>
              <a:buChar char="§"/>
            </a:pPr>
            <a:r>
              <a:rPr lang="ru-RU" sz="2400" dirty="0">
                <a:solidFill>
                  <a:srgbClr val="002060"/>
                </a:solidFill>
                <a:latin typeface="+mj-lt"/>
              </a:rPr>
              <a:t>выявленная </a:t>
            </a:r>
            <a:r>
              <a:rPr lang="ru-RU" sz="2400" dirty="0">
                <a:solidFill>
                  <a:srgbClr val="C00000"/>
                </a:solidFill>
                <a:latin typeface="+mj-lt"/>
              </a:rPr>
              <a:t>недостаточность питания </a:t>
            </a:r>
            <a:r>
              <a:rPr lang="ru-RU" sz="2400" dirty="0">
                <a:solidFill>
                  <a:srgbClr val="002060"/>
                </a:solidFill>
                <a:latin typeface="+mj-lt"/>
              </a:rPr>
              <a:t>легкой и средней степени тяжести  </a:t>
            </a:r>
          </a:p>
          <a:p>
            <a:pPr marL="900113" indent="-457200">
              <a:buFont typeface="Wingdings" panose="05000000000000000000" pitchFamily="2" charset="2"/>
              <a:buChar char="§"/>
            </a:pPr>
            <a:r>
              <a:rPr lang="ru-RU" sz="2400" dirty="0">
                <a:solidFill>
                  <a:srgbClr val="002060"/>
                </a:solidFill>
                <a:latin typeface="+mj-lt"/>
              </a:rPr>
              <a:t>снижение аппетита</a:t>
            </a:r>
          </a:p>
          <a:p>
            <a:pPr marL="900113" indent="-457200">
              <a:buFont typeface="Wingdings" panose="05000000000000000000" pitchFamily="2" charset="2"/>
              <a:buChar char="§"/>
            </a:pPr>
            <a:r>
              <a:rPr lang="ru-RU" sz="2400" dirty="0">
                <a:solidFill>
                  <a:srgbClr val="002060"/>
                </a:solidFill>
                <a:latin typeface="+mj-lt"/>
              </a:rPr>
              <a:t>нарушения организации питания, сопровождающиеся дефицитом основных ингредиентов, чаще белков, дефицитом калорийности рациона и преобладанием углеводной составляющей в рационе.</a:t>
            </a:r>
            <a:r>
              <a:rPr lang="ru-RU" sz="3200" dirty="0">
                <a:solidFill>
                  <a:srgbClr val="002060"/>
                </a:solidFill>
                <a:latin typeface="+mj-lt"/>
              </a:rPr>
              <a:t/>
            </a:r>
            <a:br>
              <a:rPr lang="ru-RU" sz="3200" dirty="0">
                <a:solidFill>
                  <a:srgbClr val="002060"/>
                </a:solidFill>
                <a:latin typeface="+mj-lt"/>
              </a:rPr>
            </a:br>
            <a:r>
              <a:rPr lang="ru-RU" sz="3200" dirty="0">
                <a:solidFill>
                  <a:srgbClr val="002060"/>
                </a:solidFill>
                <a:latin typeface="+mj-lt"/>
              </a:rPr>
              <a:t> </a:t>
            </a:r>
          </a:p>
          <a:p>
            <a:pPr algn="ctr"/>
            <a:r>
              <a:rPr lang="ru-RU" sz="2800" dirty="0">
                <a:solidFill>
                  <a:srgbClr val="002060"/>
                </a:solidFill>
                <a:latin typeface="+mj-lt"/>
              </a:rPr>
              <a:t>Недостаточность питания сопровождалась симптомами гиповитаминоза, отставанием речевых и когнитивных навыков и функций. </a:t>
            </a:r>
            <a:br>
              <a:rPr lang="ru-RU" sz="2800" dirty="0">
                <a:solidFill>
                  <a:srgbClr val="002060"/>
                </a:solidFill>
                <a:latin typeface="+mj-lt"/>
              </a:rPr>
            </a:br>
            <a:r>
              <a:rPr lang="ru-RU" sz="2800" dirty="0">
                <a:solidFill>
                  <a:srgbClr val="002060"/>
                </a:solidFill>
                <a:latin typeface="+mj-lt"/>
              </a:rPr>
              <a:t> </a:t>
            </a:r>
          </a:p>
          <a:p>
            <a:pPr algn="ctr"/>
            <a:r>
              <a:rPr lang="ru-RU" sz="3200" dirty="0">
                <a:solidFill>
                  <a:srgbClr val="002060"/>
                </a:solidFill>
                <a:latin typeface="+mj-lt"/>
              </a:rPr>
              <a:t>После выписки из санатория прием специализированного питания продолжался в домашних условиях под нашим наблюдением по 200 мл в день в течение 6 месяцев.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85794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0" y="-18697"/>
            <a:ext cx="12191999" cy="1245918"/>
          </a:xfrm>
          <a:solidFill>
            <a:srgbClr val="FFFFFF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defTabSz="914400">
              <a:lnSpc>
                <a:spcPct val="90000"/>
              </a:lnSpc>
            </a:pPr>
            <a:r>
              <a:rPr lang="ru-RU" sz="2800" b="1" cap="all" dirty="0">
                <a:solidFill>
                  <a:srgbClr val="C00000"/>
                </a:solidFill>
                <a:latin typeface="Calibri Light" panose="020F0302020204030204" pitchFamily="34" charset="0"/>
              </a:rPr>
              <a:t>Избранные исходные характеристики питания детей, включенных в исследование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931695EB-4C08-4CB0-A35A-C5B3E0D881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7604828"/>
              </p:ext>
            </p:extLst>
          </p:nvPr>
        </p:nvGraphicFramePr>
        <p:xfrm>
          <a:off x="135419" y="1046748"/>
          <a:ext cx="11958464" cy="4898514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5314873">
                  <a:extLst>
                    <a:ext uri="{9D8B030D-6E8A-4147-A177-3AD203B41FA5}">
                      <a16:colId xmlns:a16="http://schemas.microsoft.com/office/drawing/2014/main" xmlns="" val="4010266877"/>
                    </a:ext>
                  </a:extLst>
                </a:gridCol>
                <a:gridCol w="2657436">
                  <a:extLst>
                    <a:ext uri="{9D8B030D-6E8A-4147-A177-3AD203B41FA5}">
                      <a16:colId xmlns:a16="http://schemas.microsoft.com/office/drawing/2014/main" xmlns="" val="2018232096"/>
                    </a:ext>
                  </a:extLst>
                </a:gridCol>
                <a:gridCol w="2325257">
                  <a:extLst>
                    <a:ext uri="{9D8B030D-6E8A-4147-A177-3AD203B41FA5}">
                      <a16:colId xmlns:a16="http://schemas.microsoft.com/office/drawing/2014/main" xmlns="" val="2333156053"/>
                    </a:ext>
                  </a:extLst>
                </a:gridCol>
                <a:gridCol w="1660898">
                  <a:extLst>
                    <a:ext uri="{9D8B030D-6E8A-4147-A177-3AD203B41FA5}">
                      <a16:colId xmlns:a16="http://schemas.microsoft.com/office/drawing/2014/main" xmlns="" val="149138899"/>
                    </a:ext>
                  </a:extLst>
                </a:gridCol>
              </a:tblGrid>
              <a:tr h="1319971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Характеристика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Первая группа </a:t>
                      </a: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(дети с недостаточностью питания) </a:t>
                      </a:r>
                      <a:endParaRPr lang="en-US" sz="9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n=75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Вторая группа </a:t>
                      </a: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(дети с нормальным </a:t>
                      </a:r>
                      <a:r>
                        <a:rPr lang="ru-RU" sz="9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нутритивным</a:t>
                      </a:r>
                      <a:r>
                        <a:rPr lang="ru-RU" sz="9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статусом) </a:t>
                      </a:r>
                      <a:endParaRPr lang="en-US" sz="9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n=</a:t>
                      </a: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26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3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Достоверность различия между группами</a:t>
                      </a:r>
                      <a:endParaRPr lang="en-US" sz="13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extLst>
                  <a:ext uri="{0D108BD9-81ED-4DB2-BD59-A6C34878D82A}">
                    <a16:rowId xmlns:a16="http://schemas.microsoft.com/office/drawing/2014/main" xmlns="" val="3301358878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Доля детей с кратностью приема пищи ниже рекомендованной по возрасту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90,1%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 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67,9%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 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р&lt;0,05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extLst>
                  <a:ext uri="{0D108BD9-81ED-4DB2-BD59-A6C34878D82A}">
                    <a16:rowId xmlns:a16="http://schemas.microsoft.com/office/drawing/2014/main" xmlns="" val="1404300737"/>
                  </a:ext>
                </a:extLst>
              </a:tr>
              <a:tr h="339408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Кратность приема пищи в день (в среднем)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2-3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3-4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</a:t>
                      </a: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р&lt;0,05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extLst>
                  <a:ext uri="{0D108BD9-81ED-4DB2-BD59-A6C34878D82A}">
                    <a16:rowId xmlns:a16="http://schemas.microsoft.com/office/drawing/2014/main" xmlns="" val="8890480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Доля детей с недостаточным суточным объемом пищи (менее 1600 мл.)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38,6%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6,2%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р&lt;0,05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extLst>
                  <a:ext uri="{0D108BD9-81ED-4DB2-BD59-A6C34878D82A}">
                    <a16:rowId xmlns:a16="http://schemas.microsoft.com/office/drawing/2014/main" xmlns="" val="125756629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Доля детей с перекусами сладостями и </a:t>
                      </a:r>
                      <a:r>
                        <a:rPr lang="ru-RU" sz="1400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фастфудом</a:t>
                      </a: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 между приемами пищи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14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96,0%</a:t>
                      </a:r>
                      <a:endParaRPr lang="en-US" sz="14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54,3%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р&lt;0,05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extLst>
                  <a:ext uri="{0D108BD9-81ED-4DB2-BD59-A6C34878D82A}">
                    <a16:rowId xmlns:a16="http://schemas.microsoft.com/office/drawing/2014/main" xmlns="" val="206115875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Доля детей, получавших не рекомендованные детям продукты питания*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14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94,1%</a:t>
                      </a:r>
                      <a:endParaRPr lang="en-US" sz="14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 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</a:endParaRP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55,6%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р&lt;0,05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extLst>
                  <a:ext uri="{0D108BD9-81ED-4DB2-BD59-A6C34878D82A}">
                    <a16:rowId xmlns:a16="http://schemas.microsoft.com/office/drawing/2014/main" xmlns="" val="1433961641"/>
                  </a:ext>
                </a:extLst>
              </a:tr>
              <a:tr h="678815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Доля детей с недостаточным употреблением основных пищевых продуктов**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72,5%</a:t>
                      </a:r>
                      <a:endParaRPr lang="en-US" sz="140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ru-RU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56,8%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  <a:tabLst>
                          <a:tab pos="342900" algn="l"/>
                        </a:tabLst>
                      </a:pPr>
                      <a:r>
                        <a:rPr lang="en-US" sz="14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р&lt;0,05</a:t>
                      </a:r>
                      <a:endParaRPr lang="en-US" sz="14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8284" marR="28284" marT="0" marB="0"/>
                </a:tc>
                <a:extLst>
                  <a:ext uri="{0D108BD9-81ED-4DB2-BD59-A6C34878D82A}">
                    <a16:rowId xmlns:a16="http://schemas.microsoft.com/office/drawing/2014/main" xmlns="" val="519758437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CC5D4AB-E638-4C2B-8E94-D179052F744D}"/>
              </a:ext>
            </a:extLst>
          </p:cNvPr>
          <p:cNvSpPr/>
          <p:nvPr/>
        </p:nvSpPr>
        <p:spPr>
          <a:xfrm>
            <a:off x="135418" y="6040484"/>
            <a:ext cx="12056581" cy="585032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txBody>
          <a:bodyPr wrap="square">
            <a:spAutoFit/>
          </a:bodyPr>
          <a:lstStyle/>
          <a:p>
            <a:pPr marL="863578" defTabSz="1219170">
              <a:lnSpc>
                <a:spcPct val="150000"/>
              </a:lnSpc>
              <a:spcAft>
                <a:spcPts val="1067"/>
              </a:spcAft>
              <a:tabLst>
                <a:tab pos="457189" algn="l"/>
              </a:tabLst>
            </a:pPr>
            <a:r>
              <a:rPr lang="ru-RU" sz="1067" b="1" dirty="0">
                <a:solidFill>
                  <a:prstClr val="white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* Полуфабрикаты, соусы, снеки, колбасные изделия, сладости, сладкие газированные напитки                                                                                                                     ** Мясо, рыба, молоко и кисломолочные продукты, овощи, фрукты</a:t>
            </a:r>
            <a:endParaRPr lang="en-US" sz="1067" dirty="0">
              <a:solidFill>
                <a:prstClr val="white"/>
              </a:solidFill>
              <a:latin typeface="Arial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26752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38539" y="278296"/>
            <a:ext cx="11798563" cy="6063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b="1" cap="all" dirty="0">
                <a:solidFill>
                  <a:srgbClr val="C00000"/>
                </a:solidFill>
                <a:latin typeface="Calibri Light" panose="020F0302020204030204" pitchFamily="34" charset="0"/>
                <a:ea typeface="+mj-ea"/>
                <a:cs typeface="+mj-cs"/>
              </a:rPr>
              <a:t>	влияние РРП на качество жизни детей: </a:t>
            </a:r>
            <a:r>
              <a:rPr lang="ru-RU" sz="4400" dirty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4400" dirty="0">
                <a:solidFill>
                  <a:schemeClr val="accent1">
                    <a:lumMod val="50000"/>
                  </a:schemeClr>
                </a:solidFill>
              </a:rPr>
            </a:br>
            <a:endParaRPr lang="ru-RU" sz="44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sz="4400" dirty="0">
                <a:solidFill>
                  <a:schemeClr val="accent1">
                    <a:lumMod val="50000"/>
                  </a:schemeClr>
                </a:solidFill>
              </a:rPr>
              <a:t>* рецидивирующая респираторная патология приводит к значительному </a:t>
            </a:r>
            <a:r>
              <a:rPr lang="ru-RU" sz="4400" b="1" dirty="0">
                <a:solidFill>
                  <a:schemeClr val="accent1">
                    <a:lumMod val="50000"/>
                  </a:schemeClr>
                </a:solidFill>
              </a:rPr>
              <a:t>снижению</a:t>
            </a:r>
            <a:r>
              <a:rPr lang="ru-RU" sz="4400" dirty="0">
                <a:solidFill>
                  <a:schemeClr val="accent1">
                    <a:lumMod val="50000"/>
                  </a:schemeClr>
                </a:solidFill>
              </a:rPr>
              <a:t> всех составляющих компонентов </a:t>
            </a:r>
            <a:r>
              <a:rPr lang="ru-RU" sz="4400" b="1" dirty="0">
                <a:solidFill>
                  <a:schemeClr val="accent1">
                    <a:lumMod val="50000"/>
                  </a:schemeClr>
                </a:solidFill>
              </a:rPr>
              <a:t>качества жизни</a:t>
            </a:r>
            <a:r>
              <a:rPr lang="ru-RU" sz="4400" dirty="0">
                <a:solidFill>
                  <a:schemeClr val="accent1">
                    <a:lumMod val="50000"/>
                  </a:schemeClr>
                </a:solidFill>
              </a:rPr>
              <a:t>, причем такое снижение было более выраженным </a:t>
            </a:r>
            <a:r>
              <a:rPr lang="ru-RU" sz="4400" b="1" dirty="0">
                <a:solidFill>
                  <a:schemeClr val="accent1">
                    <a:lumMod val="50000"/>
                  </a:schemeClr>
                </a:solidFill>
              </a:rPr>
              <a:t>у детей с дефицитом питания</a:t>
            </a:r>
            <a:r>
              <a:rPr lang="ru-RU" sz="3200" dirty="0"/>
              <a:t>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51802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82900" y="1122334"/>
            <a:ext cx="1169673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После курса реабилитационных мероприятий, по данным анкетирования родителей, у детей первой группы наблюдался значительный достоверный </a:t>
            </a:r>
            <a:r>
              <a:rPr lang="ru-RU" sz="2000" b="1" dirty="0"/>
              <a:t>рост баллов </a:t>
            </a:r>
            <a:r>
              <a:rPr lang="ru-RU" sz="2000" dirty="0"/>
              <a:t>(р&lt;0,001) </a:t>
            </a:r>
            <a:r>
              <a:rPr lang="ru-RU" sz="2000" b="1" dirty="0"/>
              <a:t>по всем шкалам качества жизни</a:t>
            </a:r>
            <a:r>
              <a:rPr lang="ru-RU" sz="2000" dirty="0"/>
              <a:t>.</a:t>
            </a:r>
            <a:br>
              <a:rPr lang="ru-RU" sz="2000" dirty="0"/>
            </a:br>
            <a:endParaRPr lang="ru-RU" sz="2000" dirty="0"/>
          </a:p>
          <a:p>
            <a:r>
              <a:rPr lang="ru-RU" sz="2000" dirty="0"/>
              <a:t>Наиболее высокие достигнутые баллы наблюдались по шкалам физического и социального функционирования, а наибольший прирост произошел в социальном и ролевом функционировании – на 24% и 25%, соответственно. Также удовлетворительный итог был зарегистрирован у 87,1% детей второй группы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Прямоугольник 2"/>
          <p:cNvSpPr/>
          <p:nvPr/>
        </p:nvSpPr>
        <p:spPr>
          <a:xfrm>
            <a:off x="3036021" y="138499"/>
            <a:ext cx="65277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cap="all" dirty="0">
                <a:solidFill>
                  <a:srgbClr val="C00000"/>
                </a:solidFill>
                <a:latin typeface="Calibri Light" panose="020F0302020204030204" pitchFamily="34" charset="0"/>
                <a:ea typeface="+mj-ea"/>
                <a:cs typeface="+mj-cs"/>
              </a:rPr>
              <a:t>РЕЗУЛЬТАТЫ:</a:t>
            </a:r>
            <a:endParaRPr lang="ru-RU" sz="2000" dirty="0">
              <a:solidFill>
                <a:srgbClr val="C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5102" y="3730740"/>
            <a:ext cx="4562007" cy="3022330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7" name="Прямоугольник 1"/>
          <p:cNvSpPr/>
          <p:nvPr/>
        </p:nvSpPr>
        <p:spPr>
          <a:xfrm>
            <a:off x="164892" y="3612008"/>
            <a:ext cx="7391492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По ответам родителей было выявлено </a:t>
            </a:r>
            <a:r>
              <a:rPr lang="ru-RU" sz="2000" b="1" dirty="0"/>
              <a:t>значительное улучшение интеллектуального развития и когнитивных способностей:</a:t>
            </a:r>
            <a:r>
              <a:rPr lang="ru-RU" sz="2000" dirty="0"/>
              <a:t> повысилась способность к сосредоточению, мотивация к обучению, тяга к обучающим играм, отмечались более легкое усвоение учебного материала, заинтересованность в приобретении знаний, возросшая мотивация к обучению, увеличение концентрации внимания, объема запоминаемой информации и скорости мышления.</a:t>
            </a:r>
          </a:p>
        </p:txBody>
      </p:sp>
      <p:sp>
        <p:nvSpPr>
          <p:cNvPr id="8" name="Rectangle 7"/>
          <p:cNvSpPr/>
          <p:nvPr/>
        </p:nvSpPr>
        <p:spPr>
          <a:xfrm>
            <a:off x="1316182" y="6627168"/>
            <a:ext cx="521508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се фото получены и используются с согласия правообладателя и изображенных лиц</a:t>
            </a:r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13038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19529" y="1414955"/>
            <a:ext cx="110177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2060"/>
                </a:solidFill>
              </a:rPr>
              <a:t>Повышение ИМТ и КЖСТ в процессе оздоровительных мероприятий по данным корреляционного анализа оказывало положительное влияние на все показатели качества жизни.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Прямоугольник 2"/>
          <p:cNvSpPr/>
          <p:nvPr/>
        </p:nvSpPr>
        <p:spPr>
          <a:xfrm>
            <a:off x="3032016" y="301139"/>
            <a:ext cx="65277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cap="all" dirty="0">
                <a:solidFill>
                  <a:srgbClr val="C00000"/>
                </a:solidFill>
                <a:latin typeface="Calibri Light" panose="020F0302020204030204" pitchFamily="34" charset="0"/>
                <a:ea typeface="+mj-ea"/>
                <a:cs typeface="+mj-cs"/>
              </a:rPr>
              <a:t>РЕЗУЛЬТАТЫ:</a:t>
            </a:r>
            <a:endParaRPr lang="ru-RU" sz="2000" dirty="0">
              <a:solidFill>
                <a:srgbClr val="C00000"/>
              </a:solidFill>
            </a:endParaRPr>
          </a:p>
        </p:txBody>
      </p:sp>
      <p:sp>
        <p:nvSpPr>
          <p:cNvPr id="5" name="Прямоугольник 1"/>
          <p:cNvSpPr/>
          <p:nvPr/>
        </p:nvSpPr>
        <p:spPr>
          <a:xfrm>
            <a:off x="719528" y="2674449"/>
            <a:ext cx="113025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7030A0"/>
                </a:solidFill>
              </a:rPr>
              <a:t>Уровень лимфоцитов положительно коррелировал с показателем социального функционирования</a:t>
            </a:r>
            <a:r>
              <a:rPr lang="ru-RU" sz="2400" dirty="0"/>
              <a:t>. </a:t>
            </a:r>
          </a:p>
        </p:txBody>
      </p:sp>
      <p:sp>
        <p:nvSpPr>
          <p:cNvPr id="6" name="Прямоугольник 1"/>
          <p:cNvSpPr/>
          <p:nvPr/>
        </p:nvSpPr>
        <p:spPr>
          <a:xfrm>
            <a:off x="719528" y="3557831"/>
            <a:ext cx="1115268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FF0000"/>
                </a:solidFill>
              </a:rPr>
              <a:t>При катамнестическом наблюдении пациентов первой группы через 12 месяцев было выявлено, что среднее количество эпизодов острых респираторных инфекций уменьшилось в 2,5 раза (с 7,12 до 2,9 эпизода)</a:t>
            </a:r>
            <a:endParaRPr lang="ru-RU" sz="2400" dirty="0"/>
          </a:p>
        </p:txBody>
      </p:sp>
      <p:sp>
        <p:nvSpPr>
          <p:cNvPr id="7" name="Прямоугольник 1"/>
          <p:cNvSpPr/>
          <p:nvPr/>
        </p:nvSpPr>
        <p:spPr>
          <a:xfrm>
            <a:off x="719528" y="4943965"/>
            <a:ext cx="104481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chemeClr val="accent1">
                    <a:lumMod val="50000"/>
                  </a:schemeClr>
                </a:solidFill>
              </a:rPr>
              <a:t>Средняя продолжительность течения эпизода болезни снизилась в 1,8 раза (с 11,88 до 6,76 дней) </a:t>
            </a:r>
          </a:p>
        </p:txBody>
      </p:sp>
    </p:spTree>
    <p:extLst>
      <p:ext uri="{BB962C8B-B14F-4D97-AF65-F5344CB8AC3E}">
        <p14:creationId xmlns:p14="http://schemas.microsoft.com/office/powerpoint/2010/main" val="341282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6" grpId="0"/>
      <p:bldP spid="7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662" y="6935085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3" name="Диаграмма 6"/>
          <p:cNvGraphicFramePr>
            <a:graphicFrameLocks/>
          </p:cNvGraphicFramePr>
          <p:nvPr/>
        </p:nvGraphicFramePr>
        <p:xfrm>
          <a:off x="-216336" y="2359856"/>
          <a:ext cx="6769100" cy="3898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Диаграмма 5"/>
          <p:cNvGraphicFramePr>
            <a:graphicFrameLocks/>
          </p:cNvGraphicFramePr>
          <p:nvPr/>
        </p:nvGraphicFramePr>
        <p:xfrm>
          <a:off x="5643147" y="2292448"/>
          <a:ext cx="6567515" cy="3966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Arrow: Down 8"/>
          <p:cNvSpPr/>
          <p:nvPr/>
        </p:nvSpPr>
        <p:spPr>
          <a:xfrm>
            <a:off x="8103458" y="2627832"/>
            <a:ext cx="231775" cy="722312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0" name="Arrow: Down 9"/>
          <p:cNvSpPr/>
          <p:nvPr/>
        </p:nvSpPr>
        <p:spPr>
          <a:xfrm>
            <a:off x="9802083" y="2646517"/>
            <a:ext cx="230188" cy="722312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1" name="TextBox 2"/>
          <p:cNvSpPr txBox="1">
            <a:spLocks noChangeArrowheads="1"/>
          </p:cNvSpPr>
          <p:nvPr/>
        </p:nvSpPr>
        <p:spPr bwMode="auto">
          <a:xfrm>
            <a:off x="10101015" y="2627832"/>
            <a:ext cx="1077912" cy="88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100"/>
              <a:t>Снижение в 1,1 раза</a:t>
            </a:r>
            <a:endParaRPr lang="en-US" altLang="ru-RU" sz="1100"/>
          </a:p>
        </p:txBody>
      </p:sp>
      <p:sp>
        <p:nvSpPr>
          <p:cNvPr id="12" name="TextBox 2"/>
          <p:cNvSpPr txBox="1">
            <a:spLocks noChangeArrowheads="1"/>
          </p:cNvSpPr>
          <p:nvPr/>
        </p:nvSpPr>
        <p:spPr bwMode="auto">
          <a:xfrm>
            <a:off x="8430882" y="2627832"/>
            <a:ext cx="1076325" cy="88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eorgia" panose="02040502050405020303" pitchFamily="18" charset="0"/>
                <a:cs typeface="Arial" panose="020B0604020202020204" pitchFamily="34" charset="0"/>
              </a:defRPr>
            </a:lvl9pPr>
          </a:lstStyle>
          <a:p>
            <a:r>
              <a:rPr lang="ru-RU" altLang="ru-RU" sz="1400" dirty="0"/>
              <a:t>Снижение в </a:t>
            </a:r>
            <a:r>
              <a:rPr lang="ru-RU" altLang="ru-RU" sz="1400" b="1" dirty="0"/>
              <a:t>1,8 </a:t>
            </a:r>
            <a:r>
              <a:rPr lang="ru-RU" altLang="ru-RU" sz="1400" dirty="0"/>
              <a:t>раза</a:t>
            </a:r>
            <a:endParaRPr lang="en-US" altLang="ru-RU" sz="1400" dirty="0"/>
          </a:p>
        </p:txBody>
      </p:sp>
      <p:sp>
        <p:nvSpPr>
          <p:cNvPr id="13" name="Прямоугольник 2"/>
          <p:cNvSpPr/>
          <p:nvPr/>
        </p:nvSpPr>
        <p:spPr>
          <a:xfrm>
            <a:off x="0" y="6486"/>
            <a:ext cx="12192000" cy="107721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3200" b="1" dirty="0">
                <a:solidFill>
                  <a:srgbClr val="C00000"/>
                </a:solidFill>
                <a:latin typeface="Arial Narrow" panose="020B0606020202030204" pitchFamily="34" charset="0"/>
                <a:ea typeface="+mj-ea"/>
                <a:cs typeface="+mj-cs"/>
              </a:rPr>
              <a:t>Влияние выполнения комплексных оздоровительных мероприятий на число и длительность эпизода РРИ у ЧДБ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0FCFF4FD-E056-46A4-A330-B21D26640F93}"/>
              </a:ext>
            </a:extLst>
          </p:cNvPr>
          <p:cNvSpPr txBox="1"/>
          <p:nvPr/>
        </p:nvSpPr>
        <p:spPr>
          <a:xfrm>
            <a:off x="1173929" y="1381902"/>
            <a:ext cx="4105469" cy="92333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/>
          </a:lstStyle>
          <a:p>
            <a:r>
              <a:rPr lang="ru-RU" dirty="0"/>
              <a:t>Среднее число эпизодов ОРИ до и через год после проведения реабилитации</a:t>
            </a:r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38558E5F-8354-4E13-BA42-2FD7ED3E2916}"/>
              </a:ext>
            </a:extLst>
          </p:cNvPr>
          <p:cNvSpPr txBox="1"/>
          <p:nvPr/>
        </p:nvSpPr>
        <p:spPr>
          <a:xfrm>
            <a:off x="7073458" y="1391621"/>
            <a:ext cx="4105469" cy="923330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Средняя длительность эпизода ОРИ до и через год после проведения реабилитац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5522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689928" y="63808"/>
            <a:ext cx="11502072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cap="all" dirty="0">
                <a:solidFill>
                  <a:srgbClr val="C00000"/>
                </a:solidFill>
                <a:latin typeface="Calibri Light" panose="020F0302020204030204" pitchFamily="34" charset="0"/>
                <a:ea typeface="+mj-ea"/>
                <a:cs typeface="+mj-cs"/>
              </a:rPr>
              <a:t>Заключение:</a:t>
            </a:r>
            <a:br>
              <a:rPr lang="ru-RU" sz="2800" b="1" cap="all" dirty="0">
                <a:solidFill>
                  <a:srgbClr val="C00000"/>
                </a:solidFill>
                <a:latin typeface="Calibri Light" panose="020F0302020204030204" pitchFamily="34" charset="0"/>
                <a:ea typeface="+mj-ea"/>
                <a:cs typeface="+mj-cs"/>
              </a:rPr>
            </a:br>
            <a:endParaRPr lang="ru-RU" sz="2800" b="1" cap="all" dirty="0">
              <a:solidFill>
                <a:srgbClr val="C00000"/>
              </a:solidFill>
              <a:latin typeface="Calibri Light" panose="020F0302020204030204" pitchFamily="34" charset="0"/>
              <a:ea typeface="+mj-ea"/>
              <a:cs typeface="+mj-cs"/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FF0000"/>
                </a:solidFill>
              </a:rPr>
              <a:t>Установлено, что дети с рецидивирующей респираторной патологией, сопряженной </a:t>
            </a:r>
            <a:r>
              <a:rPr lang="ru-RU" sz="2400" u="sng" dirty="0">
                <a:solidFill>
                  <a:srgbClr val="FF0000"/>
                </a:solidFill>
              </a:rPr>
              <a:t>с недостаточностью питания</a:t>
            </a:r>
            <a:r>
              <a:rPr lang="ru-RU" sz="2400" dirty="0">
                <a:solidFill>
                  <a:srgbClr val="FF0000"/>
                </a:solidFill>
              </a:rPr>
              <a:t> имеют ограничения всех компонентов </a:t>
            </a:r>
            <a:r>
              <a:rPr lang="ru-RU" sz="2400" b="1" dirty="0">
                <a:solidFill>
                  <a:srgbClr val="FF0000"/>
                </a:solidFill>
              </a:rPr>
              <a:t>качества жизни</a:t>
            </a:r>
            <a:r>
              <a:rPr lang="ru-RU" sz="2400" dirty="0">
                <a:solidFill>
                  <a:srgbClr val="FF0000"/>
                </a:solidFill>
              </a:rPr>
              <a:t>. Наиболее низкие баллы отмечены по эмоциональному и ролевому функционированию.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endParaRPr lang="ru-RU" sz="2400" dirty="0">
              <a:solidFill>
                <a:srgbClr val="FF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Прямоугольник 1"/>
          <p:cNvSpPr/>
          <p:nvPr/>
        </p:nvSpPr>
        <p:spPr>
          <a:xfrm>
            <a:off x="593132" y="2731168"/>
            <a:ext cx="1180551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CC0000"/>
                </a:solidFill>
              </a:rPr>
              <a:t>Оценка качества жизни является дополнительным критерием анализа эффективности программ реабилитации, дополняет медицинское обследование детей с рецидивирующей респираторной патологией, позволяет провести комплексный мониторинг состояния здоровья, повысить качество медицинской помощи в условиях детского санатория.</a:t>
            </a:r>
          </a:p>
        </p:txBody>
      </p:sp>
      <p:sp>
        <p:nvSpPr>
          <p:cNvPr id="5" name="Прямоугольник 1"/>
          <p:cNvSpPr/>
          <p:nvPr/>
        </p:nvSpPr>
        <p:spPr>
          <a:xfrm>
            <a:off x="593132" y="4857145"/>
            <a:ext cx="1142641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2400" dirty="0">
                <a:solidFill>
                  <a:srgbClr val="990033"/>
                </a:solidFill>
              </a:rPr>
              <a:t>Комплексные оздоровительные мероприятия с использованием дополнительной нутритивной поддержки у ЧБД с дефицитом питания, способствуют улучшению качества жизни, повышению адаптационных возможностей, снижению частоты (в </a:t>
            </a:r>
            <a:r>
              <a:rPr lang="ru-RU" sz="2400" b="1" dirty="0">
                <a:solidFill>
                  <a:srgbClr val="990033"/>
                </a:solidFill>
              </a:rPr>
              <a:t>2,5 раза) </a:t>
            </a:r>
            <a:r>
              <a:rPr lang="ru-RU" sz="2400" dirty="0">
                <a:solidFill>
                  <a:srgbClr val="990033"/>
                </a:solidFill>
              </a:rPr>
              <a:t>и длительности (</a:t>
            </a:r>
            <a:r>
              <a:rPr lang="ru-RU" sz="2400" b="1" dirty="0">
                <a:solidFill>
                  <a:srgbClr val="990033"/>
                </a:solidFill>
              </a:rPr>
              <a:t>в 1,8 раз</a:t>
            </a:r>
            <a:r>
              <a:rPr lang="ru-RU" sz="2400" dirty="0">
                <a:solidFill>
                  <a:srgbClr val="990033"/>
                </a:solidFill>
              </a:rPr>
              <a:t>) эпизодов острых респираторных инфекций</a:t>
            </a:r>
            <a:endParaRPr lang="ru-RU" dirty="0">
              <a:solidFill>
                <a:srgbClr val="990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4109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85800" y="516082"/>
            <a:ext cx="10477813" cy="1132609"/>
          </a:xfrm>
          <a:solidFill>
            <a:schemeClr val="accent1">
              <a:lumMod val="20000"/>
              <a:lumOff val="80000"/>
            </a:schemeClr>
          </a:solidFill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/>
            </a:r>
            <a:br>
              <a:rPr lang="ru-RU" b="1" dirty="0">
                <a:solidFill>
                  <a:srgbClr val="C00000"/>
                </a:solidFill>
              </a:rPr>
            </a:br>
            <a:r>
              <a:rPr lang="ru-RU" b="1" dirty="0">
                <a:solidFill>
                  <a:srgbClr val="C00000"/>
                </a:solidFill>
              </a:rPr>
              <a:t/>
            </a:r>
            <a:br>
              <a:rPr lang="ru-RU" b="1" dirty="0">
                <a:solidFill>
                  <a:srgbClr val="C00000"/>
                </a:solidFill>
              </a:rPr>
            </a:br>
            <a:r>
              <a:rPr lang="ru-RU" b="1" dirty="0">
                <a:solidFill>
                  <a:srgbClr val="C00000"/>
                </a:solidFill>
              </a:rPr>
              <a:t>Рецидивирующие ОРЗ способствуют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57200" y="2244436"/>
            <a:ext cx="1142996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dirty="0">
                <a:cs typeface="Aharoni" panose="02010803020104030203" pitchFamily="2" charset="-79"/>
              </a:rPr>
              <a:t>*снижению иммунной резистентности организма, срыву компенсаторно-адаптационных механизмов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" name="Прямоугольник 4"/>
          <p:cNvSpPr/>
          <p:nvPr/>
        </p:nvSpPr>
        <p:spPr>
          <a:xfrm>
            <a:off x="304832" y="4005706"/>
            <a:ext cx="1158233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dirty="0">
                <a:cs typeface="Aharoni" panose="02010803020104030203" pitchFamily="2" charset="-79"/>
              </a:rPr>
              <a:t>*нарушению функционального состояния организма - особенно органов дыхания, ЖКТ, ССС и вегетативной нервной системы</a:t>
            </a:r>
          </a:p>
        </p:txBody>
      </p:sp>
      <p:sp>
        <p:nvSpPr>
          <p:cNvPr id="7" name="Прямоугольник 4"/>
          <p:cNvSpPr/>
          <p:nvPr/>
        </p:nvSpPr>
        <p:spPr>
          <a:xfrm>
            <a:off x="322118" y="5933209"/>
            <a:ext cx="109657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600" dirty="0">
                <a:cs typeface="Aharoni" panose="02010803020104030203" pitchFamily="2" charset="-79"/>
              </a:rPr>
              <a:t>*раннему развитию хронической патологии</a:t>
            </a:r>
          </a:p>
        </p:txBody>
      </p:sp>
    </p:spTree>
    <p:extLst>
      <p:ext uri="{BB962C8B-B14F-4D97-AF65-F5344CB8AC3E}">
        <p14:creationId xmlns:p14="http://schemas.microsoft.com/office/powerpoint/2010/main" val="2956758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55865" y="4110565"/>
            <a:ext cx="66425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70C0"/>
                </a:solidFill>
              </a:rPr>
              <a:t>Наиболее часто РРЗ встречаются у детей дошкольного и младшего школьного возраста, особенно в первый год посещения организованного коллектива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37473" y="3671454"/>
            <a:ext cx="4544599" cy="3186545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3" name="Прямоугольник 2"/>
          <p:cNvSpPr/>
          <p:nvPr/>
        </p:nvSpPr>
        <p:spPr>
          <a:xfrm>
            <a:off x="155865" y="1174173"/>
            <a:ext cx="11689772" cy="2800767"/>
          </a:xfrm>
          <a:prstGeom prst="rect">
            <a:avLst/>
          </a:prstGeom>
          <a:noFill/>
          <a:effectLst>
            <a:softEdge rad="63500"/>
          </a:effectLst>
        </p:spPr>
        <p:txBody>
          <a:bodyPr wrap="square">
            <a:spAutoFit/>
          </a:bodyPr>
          <a:lstStyle/>
          <a:p>
            <a:pPr algn="ctr"/>
            <a:r>
              <a:rPr lang="ru-RU" sz="3200" b="1" cap="all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Рекуррентные респираторные заболевания (РРЗ):</a:t>
            </a:r>
          </a:p>
          <a:p>
            <a:r>
              <a:rPr lang="ru-RU" sz="2400" b="1" dirty="0">
                <a:latin typeface="PTSansPro-Light"/>
              </a:rPr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b="1" dirty="0">
                <a:latin typeface="PTSansPro-Light"/>
              </a:rPr>
              <a:t>неблагоприятно влияют на состояние здоровья детей,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b="1" dirty="0">
                <a:latin typeface="PTSansPro-Light"/>
              </a:rPr>
              <a:t>ухудшают качество жизни пациентов,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b="1" dirty="0">
                <a:latin typeface="PTSansPro-Light"/>
              </a:rPr>
              <a:t>нарушают их социальную адаптацию,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b="1" dirty="0">
                <a:latin typeface="PTSansPro-Light"/>
              </a:rPr>
              <a:t>приводят к возникновению педагогических проблем и 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b="1" dirty="0">
                <a:latin typeface="PTSansPro-Light"/>
              </a:rPr>
              <a:t>ограничению общения со сверстниками</a:t>
            </a:r>
            <a:endParaRPr lang="ru-RU" sz="2400" b="1" dirty="0"/>
          </a:p>
        </p:txBody>
      </p:sp>
      <p:sp>
        <p:nvSpPr>
          <p:cNvPr id="8" name="Rectangle 7"/>
          <p:cNvSpPr/>
          <p:nvPr/>
        </p:nvSpPr>
        <p:spPr>
          <a:xfrm>
            <a:off x="1316182" y="6627168"/>
            <a:ext cx="521508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се фото получены и используются с согласия правообладателя и изображенных лиц</a:t>
            </a:r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698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102926" y="478957"/>
            <a:ext cx="8606638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b="1" cap="all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В 40% случаев к 7–8 годам у ЧБД формируется хроническая патология</a:t>
            </a:r>
          </a:p>
          <a:p>
            <a:pPr algn="ctr"/>
            <a:endParaRPr lang="ru-RU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Прямоугольник 5"/>
          <p:cNvSpPr/>
          <p:nvPr/>
        </p:nvSpPr>
        <p:spPr>
          <a:xfrm>
            <a:off x="355960" y="1925507"/>
            <a:ext cx="7648787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400" dirty="0"/>
              <a:t>Более 70% родителей, дети которых часто болеют ОРЗ, констатируют ухудшение </a:t>
            </a:r>
            <a:r>
              <a:rPr lang="ru-RU" sz="2400" b="1" dirty="0"/>
              <a:t>качества </a:t>
            </a:r>
            <a:r>
              <a:rPr lang="ru-RU" sz="2400" dirty="0"/>
              <a:t>своей</a:t>
            </a:r>
            <a:r>
              <a:rPr lang="ru-RU" sz="2400" b="1" dirty="0"/>
              <a:t> жизни </a:t>
            </a:r>
            <a:r>
              <a:rPr lang="ru-RU" sz="2400" dirty="0"/>
              <a:t>.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ru-RU" sz="2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400" dirty="0"/>
              <a:t>Изучение </a:t>
            </a:r>
            <a:r>
              <a:rPr lang="ru-RU" sz="2400" b="1" dirty="0"/>
              <a:t>качества жизни </a:t>
            </a:r>
            <a:r>
              <a:rPr lang="ru-RU" sz="2400" dirty="0"/>
              <a:t>данной категории детей может служить важным инструментом оценки эффективности проводимой терапии.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ru-RU" sz="2400" dirty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ru-RU" sz="2400" dirty="0"/>
              <a:t>Показатель </a:t>
            </a:r>
            <a:r>
              <a:rPr lang="ru-RU" sz="2400" b="1" dirty="0"/>
              <a:t>качества жизни </a:t>
            </a:r>
            <a:r>
              <a:rPr lang="ru-RU" sz="2400" dirty="0"/>
              <a:t>является одним из критериев эффективности оздоровительных мероприятий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292758" y="6627168"/>
            <a:ext cx="521508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се фото получены и используются с согласия правообладателя и изображенных лиц</a:t>
            </a:r>
            <a:endParaRPr lang="ru-RU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2" name="Picture 2" descr="ÐÐ°ÑÑÐ¸Ð½ÐºÐ¸ Ð¿Ð¾ Ð·Ð°Ð¿ÑÐ¾ÑÑ ÑÐµÐ±ÐµÐ½Ð¾Ðº Ð±Ð¾Ð»ÐµÐµÑ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9741" l="10000" r="90000">
                        <a14:foregroundMark x1="10357" y1="65803" x2="13750" y2="93005"/>
                        <a14:foregroundMark x1="13750" y1="93005" x2="12857" y2="97668"/>
                        <a14:foregroundMark x1="43571" y1="21244" x2="46071" y2="7513"/>
                        <a14:foregroundMark x1="46071" y1="7513" x2="55357" y2="2591"/>
                        <a14:foregroundMark x1="55357" y1="2591" x2="57930" y2="8165"/>
                        <a14:foregroundMark x1="45357" y1="6477" x2="54286" y2="1554"/>
                        <a14:foregroundMark x1="54286" y1="1554" x2="57191" y2="4211"/>
                        <a14:foregroundMark x1="69568" y1="45026" x2="69600" y2="46265"/>
                        <a14:foregroundMark x1="45833" y1="5190" x2="55714" y2="0"/>
                        <a14:foregroundMark x1="59643" y1="8290" x2="85714" y2="99741"/>
                        <a14:foregroundMark x1="53750" y1="1295" x2="61607" y2="8290"/>
                        <a14:foregroundMark x1="61607" y1="8290" x2="69107" y2="41451"/>
                        <a14:foregroundMark x1="54643" y1="1036" x2="61786" y2="9585"/>
                        <a14:backgroundMark x1="43750" y1="7254" x2="46071" y2="4404"/>
                        <a14:backgroundMark x1="75434" y1="49271" x2="78571" y2="53368"/>
                        <a14:backgroundMark x1="87007" y1="99006" x2="87143" y2="99741"/>
                        <a14:backgroundMark x1="78571" y1="53368" x2="82202" y2="7301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0013" y="2713712"/>
            <a:ext cx="6251427" cy="430901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697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4741" y="280886"/>
            <a:ext cx="1027660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70C0"/>
                </a:solidFill>
              </a:rPr>
              <a:t>Недостаточность питания </a:t>
            </a:r>
            <a:r>
              <a:rPr lang="ru-RU" sz="2800" b="1" dirty="0">
                <a:solidFill>
                  <a:srgbClr val="002060"/>
                </a:solidFill>
              </a:rPr>
              <a:t>— дисбаланс между потребностью</a:t>
            </a:r>
          </a:p>
          <a:p>
            <a:pPr algn="ctr"/>
            <a:r>
              <a:rPr lang="ru-RU" sz="2800" b="1" dirty="0">
                <a:solidFill>
                  <a:srgbClr val="002060"/>
                </a:solidFill>
              </a:rPr>
              <a:t>в питательных веществах и их потреблением, приводящий к совокупному дефициту энергии, белка или микронутриентов, который может негативно повлиять на рост, развитие ребенка и проявления болезн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06583" y="3198688"/>
            <a:ext cx="111234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FF0000"/>
                </a:solidFill>
              </a:rPr>
              <a:t>По оценкам ВОЗ, недостаточность питания причастна более чем к 1/3 всех случаев смерти дете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95693" y="3817088"/>
            <a:ext cx="1149190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000" b="1" dirty="0"/>
              <a:t>От тяжелой острой недостаточности питания страдают около 20 млн детей в возрасте до 5 лет, на них приходится 1–2 млн смертей в год, которые </a:t>
            </a:r>
            <a:r>
              <a:rPr lang="ru-RU" sz="2000" b="1" u="sng" dirty="0"/>
              <a:t>можно было предотвратить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88472" y="4718892"/>
            <a:ext cx="9642763" cy="1600438"/>
          </a:xfrm>
          <a:prstGeom prst="rect">
            <a:avLst/>
          </a:prstGeom>
          <a:noFill/>
          <a:effectLst>
            <a:glow rad="1397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solidFill>
                  <a:srgbClr val="002060"/>
                </a:solidFill>
              </a:rPr>
              <a:t>Общая распространенность такой недостаточности питания в странах с высоким уровнем экономического развития невелика, но поскольку ее основная причина — тяжелые заболевания, то она существенно выше среди госпитализированных детей и составляет во </a:t>
            </a:r>
            <a:r>
              <a:rPr lang="ru-RU" sz="2000" b="1" dirty="0">
                <a:solidFill>
                  <a:srgbClr val="002060"/>
                </a:solidFill>
              </a:rPr>
              <a:t>Франции 26–40 %, </a:t>
            </a:r>
            <a:r>
              <a:rPr lang="ru-RU" sz="2000" dirty="0">
                <a:solidFill>
                  <a:srgbClr val="002060"/>
                </a:solidFill>
              </a:rPr>
              <a:t>в </a:t>
            </a:r>
            <a:r>
              <a:rPr lang="ru-RU" sz="2000" b="1" dirty="0">
                <a:solidFill>
                  <a:srgbClr val="002060"/>
                </a:solidFill>
              </a:rPr>
              <a:t>Германии и Нидерландах — 31 %.</a:t>
            </a:r>
          </a:p>
          <a:p>
            <a:endParaRPr lang="ru-RU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0" y="6627168"/>
            <a:ext cx="115526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PM-P-RU-1166/00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8955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ъект 4"/>
          <p:cNvSpPr>
            <a:spLocks noGrp="1"/>
          </p:cNvSpPr>
          <p:nvPr>
            <p:ph idx="1"/>
          </p:nvPr>
        </p:nvSpPr>
        <p:spPr>
          <a:xfrm>
            <a:off x="156411" y="397042"/>
            <a:ext cx="11863136" cy="6018046"/>
          </a:xfrm>
        </p:spPr>
        <p:txBody>
          <a:bodyPr/>
          <a:lstStyle/>
          <a:p>
            <a:pPr marL="0" indent="0" algn="ctr">
              <a:buNone/>
            </a:pPr>
            <a:endParaRPr lang="ru-RU" dirty="0"/>
          </a:p>
        </p:txBody>
      </p:sp>
      <p:sp>
        <p:nvSpPr>
          <p:cNvPr id="12291" name="Заголовок 1"/>
          <p:cNvSpPr>
            <a:spLocks noGrp="1"/>
          </p:cNvSpPr>
          <p:nvPr>
            <p:ph type="title"/>
          </p:nvPr>
        </p:nvSpPr>
        <p:spPr>
          <a:xfrm>
            <a:off x="1" y="0"/>
            <a:ext cx="12192000" cy="1997241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/>
          <a:p>
            <a:pPr algn="ctr"/>
            <a:r>
              <a:rPr lang="ru-RU" sz="2800" b="1" i="1" dirty="0">
                <a:latin typeface="Arial" panose="020B0604020202020204" pitchFamily="34" charset="0"/>
                <a:cs typeface="Aharoni" panose="02010803020104030203" pitchFamily="2" charset="-79"/>
              </a:rPr>
              <a:t>Мир продолжает оставаться неустроенным и недобрым по отношению ко многим взрослым и детям. До 30% жителей Земли просто голодают, в то время как около 10-15% страдают от избыточного потребления пищи</a:t>
            </a:r>
            <a:endParaRPr lang="ru-RU" sz="2800" b="1" i="1" dirty="0">
              <a:solidFill>
                <a:srgbClr val="C00000"/>
              </a:solidFill>
              <a:cs typeface="Aharoni" panose="02010803020104030203" pitchFamily="2" charset="-79"/>
            </a:endParaRPr>
          </a:p>
        </p:txBody>
      </p:sp>
      <p:sp>
        <p:nvSpPr>
          <p:cNvPr id="12292" name="Текст 5"/>
          <p:cNvSpPr>
            <a:spLocks noGrp="1"/>
          </p:cNvSpPr>
          <p:nvPr>
            <p:ph type="body" sz="quarter" idx="10"/>
          </p:nvPr>
        </p:nvSpPr>
        <p:spPr>
          <a:xfrm>
            <a:off x="1847850" y="6429375"/>
            <a:ext cx="4751388" cy="368300"/>
          </a:xfrm>
        </p:spPr>
        <p:txBody>
          <a:bodyPr/>
          <a:lstStyle/>
          <a:p>
            <a:endParaRPr lang="ru-RU"/>
          </a:p>
        </p:txBody>
      </p:sp>
      <p:sp>
        <p:nvSpPr>
          <p:cNvPr id="12294" name="Прямоугольник 3"/>
          <p:cNvSpPr>
            <a:spLocks noChangeArrowheads="1"/>
          </p:cNvSpPr>
          <p:nvPr/>
        </p:nvSpPr>
        <p:spPr bwMode="auto">
          <a:xfrm>
            <a:off x="172453" y="1709529"/>
            <a:ext cx="11690683" cy="440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sz="2800" dirty="0">
                <a:solidFill>
                  <a:srgbClr val="D60093"/>
                </a:solidFill>
                <a:latin typeface="Arial" panose="020B0604020202020204" pitchFamily="34" charset="0"/>
                <a:cs typeface="Aharoni" panose="02010803020104030203" pitchFamily="2" charset="-79"/>
              </a:rPr>
              <a:t>Голод или сочетание голода с инфекцией являются главными причинами смерти детей на нашей планете. Теперь уже можно уверенно говорить и о том, что голод является главной причиной умственного и нравственного вырождения, формирования агрессивного поведения и нетерпимости. Складывается порочный круг поддержания нищеты и ненависти на нашей маленькой планете.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sz="2800" dirty="0">
                <a:solidFill>
                  <a:srgbClr val="D60093"/>
                </a:solidFill>
                <a:latin typeface="Arial" panose="020B0604020202020204" pitchFamily="34" charset="0"/>
                <a:cs typeface="Aharoni" panose="02010803020104030203" pitchFamily="2" charset="-79"/>
              </a:rPr>
              <a:t> В связи с этим педиатр, касающийся проблем детского питания, всегда вынужден занимать позицию не только специалиста-профессионала, но и гражданина, и политика, и просветителя</a:t>
            </a:r>
            <a:r>
              <a:rPr lang="ru-RU" sz="2800" dirty="0">
                <a:solidFill>
                  <a:srgbClr val="D60093"/>
                </a:solidFill>
                <a:latin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131713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216568" y="260350"/>
            <a:ext cx="11718758" cy="2089150"/>
          </a:xfrm>
          <a:solidFill>
            <a:schemeClr val="accent2">
              <a:lumMod val="20000"/>
              <a:lumOff val="80000"/>
            </a:schemeClr>
          </a:solidFill>
        </p:spPr>
        <p:txBody>
          <a:bodyPr/>
          <a:lstStyle/>
          <a:p>
            <a:r>
              <a:rPr lang="ru-RU" altLang="ru-RU" sz="2800" dirty="0">
                <a:solidFill>
                  <a:srgbClr val="C00000"/>
                </a:solidFill>
              </a:rPr>
              <a:t>В нашей стране традиционно использовался термин «гипотрофия», что означает хроническое расстройство питания с дефицитом массы тела по отношению к росту.</a:t>
            </a:r>
          </a:p>
        </p:txBody>
      </p:sp>
      <p:sp>
        <p:nvSpPr>
          <p:cNvPr id="16387" name="Объект 2"/>
          <p:cNvSpPr>
            <a:spLocks noGrp="1"/>
          </p:cNvSpPr>
          <p:nvPr>
            <p:ph idx="1"/>
          </p:nvPr>
        </p:nvSpPr>
        <p:spPr>
          <a:xfrm>
            <a:off x="1631950" y="2349501"/>
            <a:ext cx="8578850" cy="4392613"/>
          </a:xfrm>
        </p:spPr>
        <p:txBody>
          <a:bodyPr>
            <a:normAutofit fontScale="92500"/>
          </a:bodyPr>
          <a:lstStyle/>
          <a:p>
            <a:pPr algn="ctr"/>
            <a:r>
              <a:rPr lang="ru-RU" altLang="ru-RU" sz="2400"/>
              <a:t>В 1961 году ФАО / ВОЗ приняли термин « Белково-энергетическая недостаточность» БЭН означает  алиментарно-зависимое состояние вызванное белковым или энергетическим голоданием, проявляющимся дефицитом массы тела и /или роста и комплексным нарушением гомеостаза организма.</a:t>
            </a:r>
          </a:p>
          <a:p>
            <a:pPr algn="ctr"/>
            <a:r>
              <a:rPr lang="ru-RU" altLang="ru-RU" sz="2400"/>
              <a:t>В настоящее время чаще используется термин «недостаточность питания», которая подразделяется на </a:t>
            </a:r>
            <a:r>
              <a:rPr lang="ru-RU" altLang="ru-RU" sz="2400">
                <a:solidFill>
                  <a:srgbClr val="7030A0"/>
                </a:solidFill>
              </a:rPr>
              <a:t>первичную и вторичную </a:t>
            </a:r>
            <a:r>
              <a:rPr lang="ru-RU" altLang="ru-RU" sz="2400"/>
              <a:t>и может быть острой и хронической</a:t>
            </a:r>
          </a:p>
          <a:p>
            <a:pPr algn="ctr"/>
            <a:r>
              <a:rPr lang="ru-RU" altLang="ru-RU" sz="2400">
                <a:solidFill>
                  <a:srgbClr val="C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Обе формы  имеют две степени тяжести </a:t>
            </a:r>
            <a:r>
              <a:rPr lang="ru-RU" altLang="ru-RU" sz="2400" b="1">
                <a:solidFill>
                  <a:srgbClr val="7030A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умеренную и тяжелую </a:t>
            </a:r>
            <a:r>
              <a:rPr lang="ru-RU" altLang="ru-RU" sz="2400" b="1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endParaRPr lang="ru-RU" altLang="ru-RU" sz="2400"/>
          </a:p>
        </p:txBody>
      </p:sp>
    </p:spTree>
    <p:extLst>
      <p:ext uri="{BB962C8B-B14F-4D97-AF65-F5344CB8AC3E}">
        <p14:creationId xmlns:p14="http://schemas.microsoft.com/office/powerpoint/2010/main" val="2108598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EElqfKVEe1A05l7W0vD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Ион (конференц-зал)">
  <a:themeElements>
    <a:clrScheme name="Ion Boardroom">
      <a:dk1>
        <a:sysClr val="windowText" lastClr="000000"/>
      </a:dk1>
      <a:lt1>
        <a:sysClr val="window" lastClr="FFFFFF"/>
      </a:lt1>
      <a:dk2>
        <a:srgbClr val="3B3059"/>
      </a:dk2>
      <a:lt2>
        <a:srgbClr val="EBEBEB"/>
      </a:lt2>
      <a:accent1>
        <a:srgbClr val="B31166"/>
      </a:accent1>
      <a:accent2>
        <a:srgbClr val="E33D6F"/>
      </a:accent2>
      <a:accent3>
        <a:srgbClr val="E45F3C"/>
      </a:accent3>
      <a:accent4>
        <a:srgbClr val="E9943A"/>
      </a:accent4>
      <a:accent5>
        <a:srgbClr val="9B6BF2"/>
      </a:accent5>
      <a:accent6>
        <a:srgbClr val="D53DD0"/>
      </a:accent6>
      <a:hlink>
        <a:srgbClr val="8F8F8F"/>
      </a:hlink>
      <a:folHlink>
        <a:srgbClr val="A5A5A5"/>
      </a:folHlink>
    </a:clrScheme>
    <a:fontScheme name="Ion Boardroom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283</TotalTime>
  <Words>2567</Words>
  <Application>Microsoft Office PowerPoint</Application>
  <PresentationFormat>Произвольный</PresentationFormat>
  <Paragraphs>380</Paragraphs>
  <Slides>36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37" baseType="lpstr">
      <vt:lpstr>Ион (конференц-зал)</vt:lpstr>
      <vt:lpstr>Недостаточность питания –фактор риска рецидивирующих болезней в детском возрасте</vt:lpstr>
      <vt:lpstr>Проблема рецидивирующих ОРЗ сохраняет свою актуальность</vt:lpstr>
      <vt:lpstr>Группа диспансерного наблюдения, включающая детей с частыми респираторными заболеваниями, возникающими из-за транзиторных корригируемых отклонений в защитных системах организма,  не имеющих стойких органических отклонений </vt:lpstr>
      <vt:lpstr>  Рецидивирующие ОРЗ способствуют  </vt:lpstr>
      <vt:lpstr>Презентация PowerPoint</vt:lpstr>
      <vt:lpstr>Презентация PowerPoint</vt:lpstr>
      <vt:lpstr>Презентация PowerPoint</vt:lpstr>
      <vt:lpstr>Мир продолжает оставаться неустроенным и недобрым по отношению ко многим взрослым и детям. До 30% жителей Земли просто голодают, в то время как около 10-15% страдают от избыточного потребления пищи</vt:lpstr>
      <vt:lpstr>В нашей стране традиционно использовался термин «гипотрофия», что означает хроническое расстройство питания с дефицитом массы тела по отношению к росту.</vt:lpstr>
      <vt:lpstr>У детей с БЭН, кроме снижения массо-ростовых показателей, отмечается повышенная возбудимость, дефицит внимания, тревожность, нарушение социальных контактов   У взрослых пациентов с БЭН наблюдается уменьшение массы тела, которое могут маскировать отеки. Они становятся апатичными, быстро устают, у них повышена чувствительность к холоду, наблюдается длительное заживление ран. </vt:lpstr>
      <vt:lpstr>Презентация PowerPoint</vt:lpstr>
      <vt:lpstr>Факторы , предрасполагающие к гипотрофии</vt:lpstr>
      <vt:lpstr>Основные методы для оценки нутритивного статуса</vt:lpstr>
      <vt:lpstr>Презентация PowerPoint</vt:lpstr>
      <vt:lpstr>Презентация PowerPoint</vt:lpstr>
      <vt:lpstr>E43.0 Тяжелая белково-энергетическая недостаточность  неуточненная </vt:lpstr>
      <vt:lpstr>Классификация ВОЗ предполагает наличие умеренной и тяжелой степени недостаточности пит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Скрининговые таблицы для оценки нутритивного риска            (педиатрические шкалы риска развития недостаточности питания)</vt:lpstr>
      <vt:lpstr>Скрининговые таблицы для оценки нутритивного риск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грамма реабилитации</vt:lpstr>
      <vt:lpstr>Презентация PowerPoint</vt:lpstr>
      <vt:lpstr>Избранные исходные характеристики питания детей, включенных в исследова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едостаточность питания –фактор риска рецидивирующих болезней в детском возрасте</dc:title>
  <dc:creator>admin</dc:creator>
  <cp:lastModifiedBy>Work</cp:lastModifiedBy>
  <cp:revision>14</cp:revision>
  <dcterms:created xsi:type="dcterms:W3CDTF">2019-01-21T12:14:01Z</dcterms:created>
  <dcterms:modified xsi:type="dcterms:W3CDTF">2024-02-20T12:10:46Z</dcterms:modified>
</cp:coreProperties>
</file>